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83" r:id="rId2"/>
    <p:sldId id="604" r:id="rId3"/>
    <p:sldId id="607" r:id="rId4"/>
    <p:sldId id="601" r:id="rId5"/>
    <p:sldId id="606" r:id="rId6"/>
    <p:sldId id="602" r:id="rId7"/>
    <p:sldId id="608" r:id="rId8"/>
    <p:sldId id="609" r:id="rId9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512206-6637-4F20-9516-C355DBAC9FA4}" v="68" dt="2024-03-01T16:37:04.2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6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3A1C37-9F70-437F-AFE0-0098419E142B}" type="doc">
      <dgm:prSet loTypeId="urn:microsoft.com/office/officeart/2016/7/layout/RepeatingBendingProcessNew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FD7A9443-E88B-428A-B7EB-2FD99314FE3B}">
      <dgm:prSet/>
      <dgm:spPr/>
      <dgm:t>
        <a:bodyPr/>
        <a:lstStyle/>
        <a:p>
          <a:r>
            <a:rPr lang="nl-NL"/>
            <a:t>Using a with-statement for automatic closing of file at the end</a:t>
          </a:r>
          <a:endParaRPr lang="en-US"/>
        </a:p>
      </dgm:t>
    </dgm:pt>
    <dgm:pt modelId="{11870EDC-614E-4C98-AF41-A1A8E3920A30}" type="parTrans" cxnId="{3AF26A6E-5FFE-4A08-B2EE-474B5614A5DE}">
      <dgm:prSet/>
      <dgm:spPr/>
      <dgm:t>
        <a:bodyPr/>
        <a:lstStyle/>
        <a:p>
          <a:endParaRPr lang="en-US"/>
        </a:p>
      </dgm:t>
    </dgm:pt>
    <dgm:pt modelId="{DE9F4F87-4EFA-4E0F-B505-36E67D09ABA5}" type="sibTrans" cxnId="{3AF26A6E-5FFE-4A08-B2EE-474B5614A5DE}">
      <dgm:prSet/>
      <dgm:spPr/>
      <dgm:t>
        <a:bodyPr/>
        <a:lstStyle/>
        <a:p>
          <a:endParaRPr lang="en-US"/>
        </a:p>
      </dgm:t>
    </dgm:pt>
    <dgm:pt modelId="{1A1854A9-94D8-42B3-83D0-EDE2517EFE7E}">
      <dgm:prSet/>
      <dgm:spPr/>
      <dgm:t>
        <a:bodyPr/>
        <a:lstStyle/>
        <a:p>
          <a:r>
            <a:rPr lang="nl-NL"/>
            <a:t>tweets_file is the variable that refers to the file handle returned by calling ‘open’</a:t>
          </a:r>
          <a:endParaRPr lang="en-US"/>
        </a:p>
      </dgm:t>
    </dgm:pt>
    <dgm:pt modelId="{F66617A4-FB89-4DA2-8D11-2C3900D4C3C4}" type="parTrans" cxnId="{EF94D954-2F1B-4E74-A0F8-11B279036CB1}">
      <dgm:prSet/>
      <dgm:spPr/>
      <dgm:t>
        <a:bodyPr/>
        <a:lstStyle/>
        <a:p>
          <a:endParaRPr lang="en-US"/>
        </a:p>
      </dgm:t>
    </dgm:pt>
    <dgm:pt modelId="{79C8D70E-B733-4766-B588-2E2D88C6D13C}" type="sibTrans" cxnId="{EF94D954-2F1B-4E74-A0F8-11B279036CB1}">
      <dgm:prSet/>
      <dgm:spPr/>
      <dgm:t>
        <a:bodyPr/>
        <a:lstStyle/>
        <a:p>
          <a:endParaRPr lang="en-US"/>
        </a:p>
      </dgm:t>
    </dgm:pt>
    <dgm:pt modelId="{ADA7B40D-0039-4BFE-92A6-9477BEE8991F}">
      <dgm:prSet/>
      <dgm:spPr/>
      <dgm:t>
        <a:bodyPr/>
        <a:lstStyle/>
        <a:p>
          <a:r>
            <a:rPr lang="nl-NL"/>
            <a:t>The open function takes as input the location/name of the file and optionally text encoding</a:t>
          </a:r>
          <a:endParaRPr lang="en-US"/>
        </a:p>
      </dgm:t>
    </dgm:pt>
    <dgm:pt modelId="{7412F1C8-F0AD-4C51-8455-3D84B2CCE03E}" type="parTrans" cxnId="{F11594C7-27AE-4D9D-AB62-E182C9EF9A5B}">
      <dgm:prSet/>
      <dgm:spPr/>
      <dgm:t>
        <a:bodyPr/>
        <a:lstStyle/>
        <a:p>
          <a:endParaRPr lang="en-US"/>
        </a:p>
      </dgm:t>
    </dgm:pt>
    <dgm:pt modelId="{34494252-D774-427F-A791-912250C787AD}" type="sibTrans" cxnId="{F11594C7-27AE-4D9D-AB62-E182C9EF9A5B}">
      <dgm:prSet/>
      <dgm:spPr/>
      <dgm:t>
        <a:bodyPr/>
        <a:lstStyle/>
        <a:p>
          <a:endParaRPr lang="en-US"/>
        </a:p>
      </dgm:t>
    </dgm:pt>
    <dgm:pt modelId="{70EC3ECD-F159-4343-9578-699A4B3E19AD}">
      <dgm:prSet/>
      <dgm:spPr/>
      <dgm:t>
        <a:bodyPr/>
        <a:lstStyle/>
        <a:p>
          <a:r>
            <a:rPr lang="nl-NL"/>
            <a:t>tweets is the variable that stores the return value of calling ‘load’ on the file handle: tweets_file</a:t>
          </a:r>
          <a:endParaRPr lang="en-US"/>
        </a:p>
      </dgm:t>
    </dgm:pt>
    <dgm:pt modelId="{87652E14-84A3-4E0B-9D8B-DBD59B11F271}" type="parTrans" cxnId="{ED506FCF-510C-4AB0-879A-2C3B98AF9AAF}">
      <dgm:prSet/>
      <dgm:spPr/>
      <dgm:t>
        <a:bodyPr/>
        <a:lstStyle/>
        <a:p>
          <a:endParaRPr lang="en-US"/>
        </a:p>
      </dgm:t>
    </dgm:pt>
    <dgm:pt modelId="{1BB5B882-2A6E-45B0-8363-8D16A66F04BF}" type="sibTrans" cxnId="{ED506FCF-510C-4AB0-879A-2C3B98AF9AAF}">
      <dgm:prSet/>
      <dgm:spPr/>
      <dgm:t>
        <a:bodyPr/>
        <a:lstStyle/>
        <a:p>
          <a:endParaRPr lang="en-US"/>
        </a:p>
      </dgm:t>
    </dgm:pt>
    <dgm:pt modelId="{7B52C693-105E-4ECE-890C-CC001E1AE2E5}">
      <dgm:prSet/>
      <dgm:spPr/>
      <dgm:t>
        <a:bodyPr/>
        <a:lstStyle/>
        <a:p>
          <a:r>
            <a:rPr lang="nl-NL"/>
            <a:t>json.load is the method from the library imported in line 1 taking care of parsing the JSON-file</a:t>
          </a:r>
          <a:endParaRPr lang="en-US"/>
        </a:p>
      </dgm:t>
    </dgm:pt>
    <dgm:pt modelId="{832E4997-EF2A-47D6-B9EE-452816552991}" type="parTrans" cxnId="{FAB84010-5BC7-4CA8-9000-D16E74BB48F0}">
      <dgm:prSet/>
      <dgm:spPr/>
      <dgm:t>
        <a:bodyPr/>
        <a:lstStyle/>
        <a:p>
          <a:endParaRPr lang="en-US"/>
        </a:p>
      </dgm:t>
    </dgm:pt>
    <dgm:pt modelId="{C8EB5287-E83B-467E-8A07-9203C27697AE}" type="sibTrans" cxnId="{FAB84010-5BC7-4CA8-9000-D16E74BB48F0}">
      <dgm:prSet/>
      <dgm:spPr/>
      <dgm:t>
        <a:bodyPr/>
        <a:lstStyle/>
        <a:p>
          <a:endParaRPr lang="en-US"/>
        </a:p>
      </dgm:t>
    </dgm:pt>
    <dgm:pt modelId="{414A9738-C723-4296-9B0C-EEF473F169F5}">
      <dgm:prSet/>
      <dgm:spPr/>
      <dgm:t>
        <a:bodyPr/>
        <a:lstStyle/>
        <a:p>
          <a:r>
            <a:rPr lang="nl-NL"/>
            <a:t>It returns python data types created/parsed from javascript/json data types </a:t>
          </a:r>
          <a:endParaRPr lang="en-US"/>
        </a:p>
      </dgm:t>
    </dgm:pt>
    <dgm:pt modelId="{9DEA7931-12F5-4A92-9E91-862B383B536D}" type="parTrans" cxnId="{1786434E-7E04-432B-9ED8-C3151EBB23AB}">
      <dgm:prSet/>
      <dgm:spPr/>
      <dgm:t>
        <a:bodyPr/>
        <a:lstStyle/>
        <a:p>
          <a:endParaRPr lang="en-US"/>
        </a:p>
      </dgm:t>
    </dgm:pt>
    <dgm:pt modelId="{59A50947-F529-4D3A-B1C0-46A9C0CFFA18}" type="sibTrans" cxnId="{1786434E-7E04-432B-9ED8-C3151EBB23AB}">
      <dgm:prSet/>
      <dgm:spPr/>
      <dgm:t>
        <a:bodyPr/>
        <a:lstStyle/>
        <a:p>
          <a:endParaRPr lang="en-US"/>
        </a:p>
      </dgm:t>
    </dgm:pt>
    <dgm:pt modelId="{B0B35772-54A2-4D44-A79B-B0C7C76B5899}">
      <dgm:prSet/>
      <dgm:spPr/>
      <dgm:t>
        <a:bodyPr/>
        <a:lstStyle/>
        <a:p>
          <a:r>
            <a:rPr lang="nl-NL"/>
            <a:t>The return value is a list (the whole object) that contains dictionaries (the separate tweets)</a:t>
          </a:r>
          <a:endParaRPr lang="en-US"/>
        </a:p>
      </dgm:t>
    </dgm:pt>
    <dgm:pt modelId="{80BF4E16-6891-4D03-B213-915599A3A3EB}" type="parTrans" cxnId="{D5845DE5-6FC7-46E0-AF15-94AE64F54CD2}">
      <dgm:prSet/>
      <dgm:spPr/>
      <dgm:t>
        <a:bodyPr/>
        <a:lstStyle/>
        <a:p>
          <a:endParaRPr lang="en-US"/>
        </a:p>
      </dgm:t>
    </dgm:pt>
    <dgm:pt modelId="{1EB815DD-5BF3-4139-BB72-DE7754A02988}" type="sibTrans" cxnId="{D5845DE5-6FC7-46E0-AF15-94AE64F54CD2}">
      <dgm:prSet/>
      <dgm:spPr/>
      <dgm:t>
        <a:bodyPr/>
        <a:lstStyle/>
        <a:p>
          <a:endParaRPr lang="en-US"/>
        </a:p>
      </dgm:t>
    </dgm:pt>
    <dgm:pt modelId="{0DDEC3B8-01B2-4070-BD08-67510CA36260}">
      <dgm:prSet/>
      <dgm:spPr/>
      <dgm:t>
        <a:bodyPr/>
        <a:lstStyle/>
        <a:p>
          <a:r>
            <a:rPr lang="nl-NL"/>
            <a:t>By printing the length of the list you basically count the number of list items</a:t>
          </a:r>
          <a:endParaRPr lang="en-US"/>
        </a:p>
      </dgm:t>
    </dgm:pt>
    <dgm:pt modelId="{E54EB174-AA46-4416-806C-0153AF637806}" type="parTrans" cxnId="{9EA97CF5-0F1B-424E-A343-9615966F138D}">
      <dgm:prSet/>
      <dgm:spPr/>
      <dgm:t>
        <a:bodyPr/>
        <a:lstStyle/>
        <a:p>
          <a:endParaRPr lang="en-US"/>
        </a:p>
      </dgm:t>
    </dgm:pt>
    <dgm:pt modelId="{C2151687-4BA2-4FA4-A926-63E4F33503F1}" type="sibTrans" cxnId="{9EA97CF5-0F1B-424E-A343-9615966F138D}">
      <dgm:prSet/>
      <dgm:spPr/>
      <dgm:t>
        <a:bodyPr/>
        <a:lstStyle/>
        <a:p>
          <a:endParaRPr lang="en-US"/>
        </a:p>
      </dgm:t>
    </dgm:pt>
    <dgm:pt modelId="{1F0ADB7C-7792-4036-BE67-8213A8DBE83D}">
      <dgm:prSet/>
      <dgm:spPr/>
      <dgm:t>
        <a:bodyPr/>
        <a:lstStyle/>
        <a:p>
          <a:r>
            <a:rPr lang="nl-NL"/>
            <a:t>The list items correspond to dictionaries/tweets</a:t>
          </a:r>
          <a:endParaRPr lang="en-US"/>
        </a:p>
      </dgm:t>
    </dgm:pt>
    <dgm:pt modelId="{167E1803-52A9-4B2F-8B9C-4388D89D96AD}" type="parTrans" cxnId="{A6BE9BD0-62D6-48FA-898F-CFA3522421E4}">
      <dgm:prSet/>
      <dgm:spPr/>
      <dgm:t>
        <a:bodyPr/>
        <a:lstStyle/>
        <a:p>
          <a:endParaRPr lang="en-US"/>
        </a:p>
      </dgm:t>
    </dgm:pt>
    <dgm:pt modelId="{D8C1E3BD-4D79-45B6-A88C-4DBD3BC595A0}" type="sibTrans" cxnId="{A6BE9BD0-62D6-48FA-898F-CFA3522421E4}">
      <dgm:prSet/>
      <dgm:spPr/>
      <dgm:t>
        <a:bodyPr/>
        <a:lstStyle/>
        <a:p>
          <a:endParaRPr lang="en-US"/>
        </a:p>
      </dgm:t>
    </dgm:pt>
    <dgm:pt modelId="{F23F068A-1FDF-41C1-9B4F-2B8F32E939D7}">
      <dgm:prSet/>
      <dgm:spPr/>
      <dgm:t>
        <a:bodyPr/>
        <a:lstStyle/>
        <a:p>
          <a:r>
            <a:rPr lang="nl-NL"/>
            <a:t>The print function has a literal string:  ‘Number of tweets: ‘</a:t>
          </a:r>
          <a:endParaRPr lang="en-US"/>
        </a:p>
      </dgm:t>
    </dgm:pt>
    <dgm:pt modelId="{ED41E12D-7F2B-496C-8259-A8789C19E8B2}" type="parTrans" cxnId="{C4A189E2-8C32-42CE-B36D-F914DCE20C71}">
      <dgm:prSet/>
      <dgm:spPr/>
      <dgm:t>
        <a:bodyPr/>
        <a:lstStyle/>
        <a:p>
          <a:endParaRPr lang="en-US"/>
        </a:p>
      </dgm:t>
    </dgm:pt>
    <dgm:pt modelId="{A12FFEFF-4DFC-43A7-88BB-08567B7D3594}" type="sibTrans" cxnId="{C4A189E2-8C32-42CE-B36D-F914DCE20C71}">
      <dgm:prSet/>
      <dgm:spPr/>
      <dgm:t>
        <a:bodyPr/>
        <a:lstStyle/>
        <a:p>
          <a:endParaRPr lang="en-US"/>
        </a:p>
      </dgm:t>
    </dgm:pt>
    <dgm:pt modelId="{AA82206B-1CE2-426C-A4DC-69984683F98E}">
      <dgm:prSet/>
      <dgm:spPr/>
      <dgm:t>
        <a:bodyPr/>
        <a:lstStyle/>
        <a:p>
          <a:r>
            <a:rPr lang="nl-NL"/>
            <a:t>This string is concatenated ( ‘+’) with the number returned by calling ‘len’ (length)</a:t>
          </a:r>
          <a:endParaRPr lang="en-US"/>
        </a:p>
      </dgm:t>
    </dgm:pt>
    <dgm:pt modelId="{EA2F553E-5758-4952-92D2-FDE39139829C}" type="parTrans" cxnId="{7C1099A0-3B0C-49A9-89D8-EC7F71DB582D}">
      <dgm:prSet/>
      <dgm:spPr/>
      <dgm:t>
        <a:bodyPr/>
        <a:lstStyle/>
        <a:p>
          <a:endParaRPr lang="en-US"/>
        </a:p>
      </dgm:t>
    </dgm:pt>
    <dgm:pt modelId="{705785FF-59FF-4296-B7AC-A503621A4451}" type="sibTrans" cxnId="{7C1099A0-3B0C-49A9-89D8-EC7F71DB582D}">
      <dgm:prSet/>
      <dgm:spPr/>
      <dgm:t>
        <a:bodyPr/>
        <a:lstStyle/>
        <a:p>
          <a:endParaRPr lang="en-US"/>
        </a:p>
      </dgm:t>
    </dgm:pt>
    <dgm:pt modelId="{94D2FD11-6D03-4CC9-90B8-A084ECCCF2FD}">
      <dgm:prSet/>
      <dgm:spPr/>
      <dgm:t>
        <a:bodyPr/>
        <a:lstStyle/>
        <a:p>
          <a:r>
            <a:rPr lang="nl-NL"/>
            <a:t>The number is cast (converted) to string-type (by calling ‘str’) else concatenation is not possible </a:t>
          </a:r>
          <a:endParaRPr lang="en-US"/>
        </a:p>
      </dgm:t>
    </dgm:pt>
    <dgm:pt modelId="{E5DCF646-4692-4011-911B-25E5574A2EC6}" type="parTrans" cxnId="{96A86416-4491-4CAA-B679-DDFEC46E133B}">
      <dgm:prSet/>
      <dgm:spPr/>
      <dgm:t>
        <a:bodyPr/>
        <a:lstStyle/>
        <a:p>
          <a:endParaRPr lang="en-US"/>
        </a:p>
      </dgm:t>
    </dgm:pt>
    <dgm:pt modelId="{187482D0-3DD5-42C6-AD5A-B2DE0BB42E24}" type="sibTrans" cxnId="{96A86416-4491-4CAA-B679-DDFEC46E133B}">
      <dgm:prSet/>
      <dgm:spPr/>
      <dgm:t>
        <a:bodyPr/>
        <a:lstStyle/>
        <a:p>
          <a:endParaRPr lang="en-US"/>
        </a:p>
      </dgm:t>
    </dgm:pt>
    <dgm:pt modelId="{13DE2746-5B30-4B43-A2D8-2C0CD2A811DE}">
      <dgm:prSet/>
      <dgm:spPr/>
      <dgm:t>
        <a:bodyPr/>
        <a:lstStyle/>
        <a:p>
          <a:r>
            <a:rPr lang="nl-NL"/>
            <a:t>Read it inside-out: </a:t>
          </a:r>
          <a:endParaRPr lang="en-US"/>
        </a:p>
      </dgm:t>
    </dgm:pt>
    <dgm:pt modelId="{2440CBCC-565B-4AA5-B082-A47C06728494}" type="parTrans" cxnId="{B53B12FE-E84E-48DB-8176-B0E42AF94AD9}">
      <dgm:prSet/>
      <dgm:spPr/>
      <dgm:t>
        <a:bodyPr/>
        <a:lstStyle/>
        <a:p>
          <a:endParaRPr lang="en-US"/>
        </a:p>
      </dgm:t>
    </dgm:pt>
    <dgm:pt modelId="{83D876A1-3CEB-4451-9CAE-178D6E009EE6}" type="sibTrans" cxnId="{B53B12FE-E84E-48DB-8176-B0E42AF94AD9}">
      <dgm:prSet/>
      <dgm:spPr/>
      <dgm:t>
        <a:bodyPr/>
        <a:lstStyle/>
        <a:p>
          <a:endParaRPr lang="en-US"/>
        </a:p>
      </dgm:t>
    </dgm:pt>
    <dgm:pt modelId="{499BFE6A-E105-46E1-8A70-F208DE709AF5}">
      <dgm:prSet/>
      <dgm:spPr/>
      <dgm:t>
        <a:bodyPr/>
        <a:lstStyle/>
        <a:p>
          <a:r>
            <a:rPr lang="nl-NL"/>
            <a:t>‘tweets’ is input for a len-function which is input for a str-function which is (partial) input for the print-function</a:t>
          </a:r>
          <a:endParaRPr lang="en-US"/>
        </a:p>
      </dgm:t>
    </dgm:pt>
    <dgm:pt modelId="{D8288A86-A4F1-48B5-9A9F-7035DD92E0BA}" type="parTrans" cxnId="{737F1250-3E34-4987-8912-AFB0DE454FAA}">
      <dgm:prSet/>
      <dgm:spPr/>
      <dgm:t>
        <a:bodyPr/>
        <a:lstStyle/>
        <a:p>
          <a:endParaRPr lang="en-US"/>
        </a:p>
      </dgm:t>
    </dgm:pt>
    <dgm:pt modelId="{E14F0EE6-07F7-4058-B66F-36D0338F835B}" type="sibTrans" cxnId="{737F1250-3E34-4987-8912-AFB0DE454FAA}">
      <dgm:prSet/>
      <dgm:spPr/>
      <dgm:t>
        <a:bodyPr/>
        <a:lstStyle/>
        <a:p>
          <a:endParaRPr lang="en-US"/>
        </a:p>
      </dgm:t>
    </dgm:pt>
    <dgm:pt modelId="{67DFB671-2073-4F79-BF63-A2EAA453EAF0}" type="pres">
      <dgm:prSet presAssocID="{E83A1C37-9F70-437F-AFE0-0098419E142B}" presName="Name0" presStyleCnt="0">
        <dgm:presLayoutVars>
          <dgm:dir/>
          <dgm:resizeHandles val="exact"/>
        </dgm:presLayoutVars>
      </dgm:prSet>
      <dgm:spPr/>
    </dgm:pt>
    <dgm:pt modelId="{6A50D249-2D2D-4683-8C9C-0E8966557204}" type="pres">
      <dgm:prSet presAssocID="{FD7A9443-E88B-428A-B7EB-2FD99314FE3B}" presName="node" presStyleLbl="node1" presStyleIdx="0" presStyleCnt="14">
        <dgm:presLayoutVars>
          <dgm:bulletEnabled val="1"/>
        </dgm:presLayoutVars>
      </dgm:prSet>
      <dgm:spPr/>
    </dgm:pt>
    <dgm:pt modelId="{821F7A3C-18EA-4DDA-8E6B-6B9E01334223}" type="pres">
      <dgm:prSet presAssocID="{DE9F4F87-4EFA-4E0F-B505-36E67D09ABA5}" presName="sibTrans" presStyleLbl="sibTrans1D1" presStyleIdx="0" presStyleCnt="13"/>
      <dgm:spPr/>
    </dgm:pt>
    <dgm:pt modelId="{A1D6D6D0-50C1-4A6D-9979-FC79A19055E5}" type="pres">
      <dgm:prSet presAssocID="{DE9F4F87-4EFA-4E0F-B505-36E67D09ABA5}" presName="connectorText" presStyleLbl="sibTrans1D1" presStyleIdx="0" presStyleCnt="13"/>
      <dgm:spPr/>
    </dgm:pt>
    <dgm:pt modelId="{2BCE9E6B-F452-47A7-8119-0F762BCAAC64}" type="pres">
      <dgm:prSet presAssocID="{1A1854A9-94D8-42B3-83D0-EDE2517EFE7E}" presName="node" presStyleLbl="node1" presStyleIdx="1" presStyleCnt="14">
        <dgm:presLayoutVars>
          <dgm:bulletEnabled val="1"/>
        </dgm:presLayoutVars>
      </dgm:prSet>
      <dgm:spPr/>
    </dgm:pt>
    <dgm:pt modelId="{F264ADBA-6DAE-4AF1-BA40-9479B87A5A2D}" type="pres">
      <dgm:prSet presAssocID="{79C8D70E-B733-4766-B588-2E2D88C6D13C}" presName="sibTrans" presStyleLbl="sibTrans1D1" presStyleIdx="1" presStyleCnt="13"/>
      <dgm:spPr/>
    </dgm:pt>
    <dgm:pt modelId="{44E61D75-191D-4042-991D-2DD4515D95C3}" type="pres">
      <dgm:prSet presAssocID="{79C8D70E-B733-4766-B588-2E2D88C6D13C}" presName="connectorText" presStyleLbl="sibTrans1D1" presStyleIdx="1" presStyleCnt="13"/>
      <dgm:spPr/>
    </dgm:pt>
    <dgm:pt modelId="{79191F39-7381-4B84-8FA4-184E86EE50FF}" type="pres">
      <dgm:prSet presAssocID="{ADA7B40D-0039-4BFE-92A6-9477BEE8991F}" presName="node" presStyleLbl="node1" presStyleIdx="2" presStyleCnt="14">
        <dgm:presLayoutVars>
          <dgm:bulletEnabled val="1"/>
        </dgm:presLayoutVars>
      </dgm:prSet>
      <dgm:spPr/>
    </dgm:pt>
    <dgm:pt modelId="{EB981A47-B4E7-47DA-AE68-6F7F25D1C86C}" type="pres">
      <dgm:prSet presAssocID="{34494252-D774-427F-A791-912250C787AD}" presName="sibTrans" presStyleLbl="sibTrans1D1" presStyleIdx="2" presStyleCnt="13"/>
      <dgm:spPr/>
    </dgm:pt>
    <dgm:pt modelId="{A87FAED4-876C-4AFF-ABA8-21936E091E95}" type="pres">
      <dgm:prSet presAssocID="{34494252-D774-427F-A791-912250C787AD}" presName="connectorText" presStyleLbl="sibTrans1D1" presStyleIdx="2" presStyleCnt="13"/>
      <dgm:spPr/>
    </dgm:pt>
    <dgm:pt modelId="{16F6ADCC-89A9-4513-A324-8D613C0EF314}" type="pres">
      <dgm:prSet presAssocID="{70EC3ECD-F159-4343-9578-699A4B3E19AD}" presName="node" presStyleLbl="node1" presStyleIdx="3" presStyleCnt="14">
        <dgm:presLayoutVars>
          <dgm:bulletEnabled val="1"/>
        </dgm:presLayoutVars>
      </dgm:prSet>
      <dgm:spPr/>
    </dgm:pt>
    <dgm:pt modelId="{37A644A6-F1C3-4069-A7D2-72675AEF110D}" type="pres">
      <dgm:prSet presAssocID="{1BB5B882-2A6E-45B0-8363-8D16A66F04BF}" presName="sibTrans" presStyleLbl="sibTrans1D1" presStyleIdx="3" presStyleCnt="13"/>
      <dgm:spPr/>
    </dgm:pt>
    <dgm:pt modelId="{9F2C9A3E-2B2B-4A4A-8A15-C0C5C9C9A170}" type="pres">
      <dgm:prSet presAssocID="{1BB5B882-2A6E-45B0-8363-8D16A66F04BF}" presName="connectorText" presStyleLbl="sibTrans1D1" presStyleIdx="3" presStyleCnt="13"/>
      <dgm:spPr/>
    </dgm:pt>
    <dgm:pt modelId="{861DDE23-2537-47A0-8507-ED943E7C919F}" type="pres">
      <dgm:prSet presAssocID="{7B52C693-105E-4ECE-890C-CC001E1AE2E5}" presName="node" presStyleLbl="node1" presStyleIdx="4" presStyleCnt="14">
        <dgm:presLayoutVars>
          <dgm:bulletEnabled val="1"/>
        </dgm:presLayoutVars>
      </dgm:prSet>
      <dgm:spPr/>
    </dgm:pt>
    <dgm:pt modelId="{18416C60-1ED1-4571-B0F6-0E11F370EEA9}" type="pres">
      <dgm:prSet presAssocID="{C8EB5287-E83B-467E-8A07-9203C27697AE}" presName="sibTrans" presStyleLbl="sibTrans1D1" presStyleIdx="4" presStyleCnt="13"/>
      <dgm:spPr/>
    </dgm:pt>
    <dgm:pt modelId="{2D99FD0C-47CB-424B-B008-5F64B7D8FEBF}" type="pres">
      <dgm:prSet presAssocID="{C8EB5287-E83B-467E-8A07-9203C27697AE}" presName="connectorText" presStyleLbl="sibTrans1D1" presStyleIdx="4" presStyleCnt="13"/>
      <dgm:spPr/>
    </dgm:pt>
    <dgm:pt modelId="{62844667-DCB0-4C39-A42D-8C36A4161ACF}" type="pres">
      <dgm:prSet presAssocID="{414A9738-C723-4296-9B0C-EEF473F169F5}" presName="node" presStyleLbl="node1" presStyleIdx="5" presStyleCnt="14">
        <dgm:presLayoutVars>
          <dgm:bulletEnabled val="1"/>
        </dgm:presLayoutVars>
      </dgm:prSet>
      <dgm:spPr/>
    </dgm:pt>
    <dgm:pt modelId="{F82AFCB9-FF26-4EEC-A023-72143E1101FF}" type="pres">
      <dgm:prSet presAssocID="{59A50947-F529-4D3A-B1C0-46A9C0CFFA18}" presName="sibTrans" presStyleLbl="sibTrans1D1" presStyleIdx="5" presStyleCnt="13"/>
      <dgm:spPr/>
    </dgm:pt>
    <dgm:pt modelId="{7F5B39D2-0E23-4923-BDB9-A6472E387D0C}" type="pres">
      <dgm:prSet presAssocID="{59A50947-F529-4D3A-B1C0-46A9C0CFFA18}" presName="connectorText" presStyleLbl="sibTrans1D1" presStyleIdx="5" presStyleCnt="13"/>
      <dgm:spPr/>
    </dgm:pt>
    <dgm:pt modelId="{710BAB63-0EBB-4D6B-A98E-0D30ADD350ED}" type="pres">
      <dgm:prSet presAssocID="{B0B35772-54A2-4D44-A79B-B0C7C76B5899}" presName="node" presStyleLbl="node1" presStyleIdx="6" presStyleCnt="14">
        <dgm:presLayoutVars>
          <dgm:bulletEnabled val="1"/>
        </dgm:presLayoutVars>
      </dgm:prSet>
      <dgm:spPr/>
    </dgm:pt>
    <dgm:pt modelId="{B7307B16-D816-4C7E-BCD5-88708C0A9AC7}" type="pres">
      <dgm:prSet presAssocID="{1EB815DD-5BF3-4139-BB72-DE7754A02988}" presName="sibTrans" presStyleLbl="sibTrans1D1" presStyleIdx="6" presStyleCnt="13"/>
      <dgm:spPr/>
    </dgm:pt>
    <dgm:pt modelId="{5EA56849-6F00-4CB3-9BA8-A748C614197F}" type="pres">
      <dgm:prSet presAssocID="{1EB815DD-5BF3-4139-BB72-DE7754A02988}" presName="connectorText" presStyleLbl="sibTrans1D1" presStyleIdx="6" presStyleCnt="13"/>
      <dgm:spPr/>
    </dgm:pt>
    <dgm:pt modelId="{9E9EDB7D-2514-4BAD-90A1-91BA55C115C1}" type="pres">
      <dgm:prSet presAssocID="{0DDEC3B8-01B2-4070-BD08-67510CA36260}" presName="node" presStyleLbl="node1" presStyleIdx="7" presStyleCnt="14">
        <dgm:presLayoutVars>
          <dgm:bulletEnabled val="1"/>
        </dgm:presLayoutVars>
      </dgm:prSet>
      <dgm:spPr/>
    </dgm:pt>
    <dgm:pt modelId="{F3DD3282-9A12-4E68-8EDF-772B6B4B6A61}" type="pres">
      <dgm:prSet presAssocID="{C2151687-4BA2-4FA4-A926-63E4F33503F1}" presName="sibTrans" presStyleLbl="sibTrans1D1" presStyleIdx="7" presStyleCnt="13"/>
      <dgm:spPr/>
    </dgm:pt>
    <dgm:pt modelId="{987DC1EC-8D02-41D1-B6BD-2F4D194B8A2F}" type="pres">
      <dgm:prSet presAssocID="{C2151687-4BA2-4FA4-A926-63E4F33503F1}" presName="connectorText" presStyleLbl="sibTrans1D1" presStyleIdx="7" presStyleCnt="13"/>
      <dgm:spPr/>
    </dgm:pt>
    <dgm:pt modelId="{252C95E1-16B8-4ED2-BDDC-518FA93B61D9}" type="pres">
      <dgm:prSet presAssocID="{1F0ADB7C-7792-4036-BE67-8213A8DBE83D}" presName="node" presStyleLbl="node1" presStyleIdx="8" presStyleCnt="14">
        <dgm:presLayoutVars>
          <dgm:bulletEnabled val="1"/>
        </dgm:presLayoutVars>
      </dgm:prSet>
      <dgm:spPr/>
    </dgm:pt>
    <dgm:pt modelId="{F8A24865-BD2B-4992-8E5C-7B40FE82809A}" type="pres">
      <dgm:prSet presAssocID="{D8C1E3BD-4D79-45B6-A88C-4DBD3BC595A0}" presName="sibTrans" presStyleLbl="sibTrans1D1" presStyleIdx="8" presStyleCnt="13"/>
      <dgm:spPr/>
    </dgm:pt>
    <dgm:pt modelId="{D8401133-2945-4022-9922-84329F20D46B}" type="pres">
      <dgm:prSet presAssocID="{D8C1E3BD-4D79-45B6-A88C-4DBD3BC595A0}" presName="connectorText" presStyleLbl="sibTrans1D1" presStyleIdx="8" presStyleCnt="13"/>
      <dgm:spPr/>
    </dgm:pt>
    <dgm:pt modelId="{803CBBCA-4FCD-4F2A-809A-B0EFC05429B5}" type="pres">
      <dgm:prSet presAssocID="{F23F068A-1FDF-41C1-9B4F-2B8F32E939D7}" presName="node" presStyleLbl="node1" presStyleIdx="9" presStyleCnt="14">
        <dgm:presLayoutVars>
          <dgm:bulletEnabled val="1"/>
        </dgm:presLayoutVars>
      </dgm:prSet>
      <dgm:spPr/>
    </dgm:pt>
    <dgm:pt modelId="{49A618B1-165D-46EC-871C-6615DD319EAA}" type="pres">
      <dgm:prSet presAssocID="{A12FFEFF-4DFC-43A7-88BB-08567B7D3594}" presName="sibTrans" presStyleLbl="sibTrans1D1" presStyleIdx="9" presStyleCnt="13"/>
      <dgm:spPr/>
    </dgm:pt>
    <dgm:pt modelId="{91683791-DF8E-4EF8-9C22-9BEF42CB6D4B}" type="pres">
      <dgm:prSet presAssocID="{A12FFEFF-4DFC-43A7-88BB-08567B7D3594}" presName="connectorText" presStyleLbl="sibTrans1D1" presStyleIdx="9" presStyleCnt="13"/>
      <dgm:spPr/>
    </dgm:pt>
    <dgm:pt modelId="{263155F2-3BCF-4113-A80E-0F0FD7A405D2}" type="pres">
      <dgm:prSet presAssocID="{AA82206B-1CE2-426C-A4DC-69984683F98E}" presName="node" presStyleLbl="node1" presStyleIdx="10" presStyleCnt="14">
        <dgm:presLayoutVars>
          <dgm:bulletEnabled val="1"/>
        </dgm:presLayoutVars>
      </dgm:prSet>
      <dgm:spPr/>
    </dgm:pt>
    <dgm:pt modelId="{6396FE1C-581C-4AA4-AED4-0A028254045A}" type="pres">
      <dgm:prSet presAssocID="{705785FF-59FF-4296-B7AC-A503621A4451}" presName="sibTrans" presStyleLbl="sibTrans1D1" presStyleIdx="10" presStyleCnt="13"/>
      <dgm:spPr/>
    </dgm:pt>
    <dgm:pt modelId="{1F1269EA-9916-4B24-9D99-FF5E11ACF4A8}" type="pres">
      <dgm:prSet presAssocID="{705785FF-59FF-4296-B7AC-A503621A4451}" presName="connectorText" presStyleLbl="sibTrans1D1" presStyleIdx="10" presStyleCnt="13"/>
      <dgm:spPr/>
    </dgm:pt>
    <dgm:pt modelId="{6C8F4019-0539-4550-9284-3C2A0EA86F1D}" type="pres">
      <dgm:prSet presAssocID="{94D2FD11-6D03-4CC9-90B8-A084ECCCF2FD}" presName="node" presStyleLbl="node1" presStyleIdx="11" presStyleCnt="14">
        <dgm:presLayoutVars>
          <dgm:bulletEnabled val="1"/>
        </dgm:presLayoutVars>
      </dgm:prSet>
      <dgm:spPr/>
    </dgm:pt>
    <dgm:pt modelId="{9368E510-B04C-47C4-9555-E42C8ABBE242}" type="pres">
      <dgm:prSet presAssocID="{187482D0-3DD5-42C6-AD5A-B2DE0BB42E24}" presName="sibTrans" presStyleLbl="sibTrans1D1" presStyleIdx="11" presStyleCnt="13"/>
      <dgm:spPr/>
    </dgm:pt>
    <dgm:pt modelId="{11B2FAC2-7C6F-40B9-93D9-55B1D39E66FE}" type="pres">
      <dgm:prSet presAssocID="{187482D0-3DD5-42C6-AD5A-B2DE0BB42E24}" presName="connectorText" presStyleLbl="sibTrans1D1" presStyleIdx="11" presStyleCnt="13"/>
      <dgm:spPr/>
    </dgm:pt>
    <dgm:pt modelId="{A6B49E86-C9DA-4B29-96BA-93498D1C5742}" type="pres">
      <dgm:prSet presAssocID="{13DE2746-5B30-4B43-A2D8-2C0CD2A811DE}" presName="node" presStyleLbl="node1" presStyleIdx="12" presStyleCnt="14">
        <dgm:presLayoutVars>
          <dgm:bulletEnabled val="1"/>
        </dgm:presLayoutVars>
      </dgm:prSet>
      <dgm:spPr/>
    </dgm:pt>
    <dgm:pt modelId="{7EDFC02C-E5B5-4B9D-9A70-E6565D2138AA}" type="pres">
      <dgm:prSet presAssocID="{83D876A1-3CEB-4451-9CAE-178D6E009EE6}" presName="sibTrans" presStyleLbl="sibTrans1D1" presStyleIdx="12" presStyleCnt="13"/>
      <dgm:spPr/>
    </dgm:pt>
    <dgm:pt modelId="{0C6093CA-C408-4D3B-A9EA-5A1ED541855C}" type="pres">
      <dgm:prSet presAssocID="{83D876A1-3CEB-4451-9CAE-178D6E009EE6}" presName="connectorText" presStyleLbl="sibTrans1D1" presStyleIdx="12" presStyleCnt="13"/>
      <dgm:spPr/>
    </dgm:pt>
    <dgm:pt modelId="{ECA13CA1-78D7-42F2-8E3C-2B2E495AAAF6}" type="pres">
      <dgm:prSet presAssocID="{499BFE6A-E105-46E1-8A70-F208DE709AF5}" presName="node" presStyleLbl="node1" presStyleIdx="13" presStyleCnt="14">
        <dgm:presLayoutVars>
          <dgm:bulletEnabled val="1"/>
        </dgm:presLayoutVars>
      </dgm:prSet>
      <dgm:spPr/>
    </dgm:pt>
  </dgm:ptLst>
  <dgm:cxnLst>
    <dgm:cxn modelId="{B7718004-2256-447D-B9EB-CDCF83CED357}" type="presOf" srcId="{499BFE6A-E105-46E1-8A70-F208DE709AF5}" destId="{ECA13CA1-78D7-42F2-8E3C-2B2E495AAAF6}" srcOrd="0" destOrd="0" presId="urn:microsoft.com/office/officeart/2016/7/layout/RepeatingBendingProcessNew"/>
    <dgm:cxn modelId="{27342C0A-B8B3-43E9-8718-BAEA4B6F59B4}" type="presOf" srcId="{E83A1C37-9F70-437F-AFE0-0098419E142B}" destId="{67DFB671-2073-4F79-BF63-A2EAA453EAF0}" srcOrd="0" destOrd="0" presId="urn:microsoft.com/office/officeart/2016/7/layout/RepeatingBendingProcessNew"/>
    <dgm:cxn modelId="{6788B00A-F48C-41E3-85D9-C866E67C695B}" type="presOf" srcId="{34494252-D774-427F-A791-912250C787AD}" destId="{EB981A47-B4E7-47DA-AE68-6F7F25D1C86C}" srcOrd="0" destOrd="0" presId="urn:microsoft.com/office/officeart/2016/7/layout/RepeatingBendingProcessNew"/>
    <dgm:cxn modelId="{FAB84010-5BC7-4CA8-9000-D16E74BB48F0}" srcId="{E83A1C37-9F70-437F-AFE0-0098419E142B}" destId="{7B52C693-105E-4ECE-890C-CC001E1AE2E5}" srcOrd="4" destOrd="0" parTransId="{832E4997-EF2A-47D6-B9EE-452816552991}" sibTransId="{C8EB5287-E83B-467E-8A07-9203C27697AE}"/>
    <dgm:cxn modelId="{DAEA4010-EE71-49E4-A860-7AFBA6E027AA}" type="presOf" srcId="{34494252-D774-427F-A791-912250C787AD}" destId="{A87FAED4-876C-4AFF-ABA8-21936E091E95}" srcOrd="1" destOrd="0" presId="urn:microsoft.com/office/officeart/2016/7/layout/RepeatingBendingProcessNew"/>
    <dgm:cxn modelId="{54DCDD13-BDF3-46E4-A527-47BFF932FF50}" type="presOf" srcId="{705785FF-59FF-4296-B7AC-A503621A4451}" destId="{6396FE1C-581C-4AA4-AED4-0A028254045A}" srcOrd="0" destOrd="0" presId="urn:microsoft.com/office/officeart/2016/7/layout/RepeatingBendingProcessNew"/>
    <dgm:cxn modelId="{065F7315-E397-4BDB-980C-886CDA8DEA95}" type="presOf" srcId="{83D876A1-3CEB-4451-9CAE-178D6E009EE6}" destId="{7EDFC02C-E5B5-4B9D-9A70-E6565D2138AA}" srcOrd="0" destOrd="0" presId="urn:microsoft.com/office/officeart/2016/7/layout/RepeatingBendingProcessNew"/>
    <dgm:cxn modelId="{96A86416-4491-4CAA-B679-DDFEC46E133B}" srcId="{E83A1C37-9F70-437F-AFE0-0098419E142B}" destId="{94D2FD11-6D03-4CC9-90B8-A084ECCCF2FD}" srcOrd="11" destOrd="0" parTransId="{E5DCF646-4692-4011-911B-25E5574A2EC6}" sibTransId="{187482D0-3DD5-42C6-AD5A-B2DE0BB42E24}"/>
    <dgm:cxn modelId="{4B924617-18E9-4E8E-90AF-08D041186CF6}" type="presOf" srcId="{0DDEC3B8-01B2-4070-BD08-67510CA36260}" destId="{9E9EDB7D-2514-4BAD-90A1-91BA55C115C1}" srcOrd="0" destOrd="0" presId="urn:microsoft.com/office/officeart/2016/7/layout/RepeatingBendingProcessNew"/>
    <dgm:cxn modelId="{BE588A17-EC1F-4A35-945B-ECD2F1AEFC32}" type="presOf" srcId="{DE9F4F87-4EFA-4E0F-B505-36E67D09ABA5}" destId="{A1D6D6D0-50C1-4A6D-9979-FC79A19055E5}" srcOrd="1" destOrd="0" presId="urn:microsoft.com/office/officeart/2016/7/layout/RepeatingBendingProcessNew"/>
    <dgm:cxn modelId="{7FE2C51A-A717-4D32-8D09-B8C03610FBCC}" type="presOf" srcId="{C8EB5287-E83B-467E-8A07-9203C27697AE}" destId="{2D99FD0C-47CB-424B-B008-5F64B7D8FEBF}" srcOrd="1" destOrd="0" presId="urn:microsoft.com/office/officeart/2016/7/layout/RepeatingBendingProcessNew"/>
    <dgm:cxn modelId="{95B3811F-406F-4D72-B0A4-162759924559}" type="presOf" srcId="{414A9738-C723-4296-9B0C-EEF473F169F5}" destId="{62844667-DCB0-4C39-A42D-8C36A4161ACF}" srcOrd="0" destOrd="0" presId="urn:microsoft.com/office/officeart/2016/7/layout/RepeatingBendingProcessNew"/>
    <dgm:cxn modelId="{C22E9120-0A92-40B0-B3D9-F2A8DE93FA76}" type="presOf" srcId="{187482D0-3DD5-42C6-AD5A-B2DE0BB42E24}" destId="{11B2FAC2-7C6F-40B9-93D9-55B1D39E66FE}" srcOrd="1" destOrd="0" presId="urn:microsoft.com/office/officeart/2016/7/layout/RepeatingBendingProcessNew"/>
    <dgm:cxn modelId="{8857A72D-B9F9-4210-BED9-6AECC082712D}" type="presOf" srcId="{70EC3ECD-F159-4343-9578-699A4B3E19AD}" destId="{16F6ADCC-89A9-4513-A324-8D613C0EF314}" srcOrd="0" destOrd="0" presId="urn:microsoft.com/office/officeart/2016/7/layout/RepeatingBendingProcessNew"/>
    <dgm:cxn modelId="{F61C5639-FB46-4A4E-9476-55BB28E3BF2C}" type="presOf" srcId="{59A50947-F529-4D3A-B1C0-46A9C0CFFA18}" destId="{F82AFCB9-FF26-4EEC-A023-72143E1101FF}" srcOrd="0" destOrd="0" presId="urn:microsoft.com/office/officeart/2016/7/layout/RepeatingBendingProcessNew"/>
    <dgm:cxn modelId="{EEE8A43D-1E08-4DAE-AB76-A4CC8678541B}" type="presOf" srcId="{1EB815DD-5BF3-4139-BB72-DE7754A02988}" destId="{5EA56849-6F00-4CB3-9BA8-A748C614197F}" srcOrd="1" destOrd="0" presId="urn:microsoft.com/office/officeart/2016/7/layout/RepeatingBendingProcessNew"/>
    <dgm:cxn modelId="{582A5960-3C14-48BA-B314-059EAEF09BD7}" type="presOf" srcId="{94D2FD11-6D03-4CC9-90B8-A084ECCCF2FD}" destId="{6C8F4019-0539-4550-9284-3C2A0EA86F1D}" srcOrd="0" destOrd="0" presId="urn:microsoft.com/office/officeart/2016/7/layout/RepeatingBendingProcessNew"/>
    <dgm:cxn modelId="{D24C6A46-F02E-4385-8C67-3B984C6B1099}" type="presOf" srcId="{1EB815DD-5BF3-4139-BB72-DE7754A02988}" destId="{B7307B16-D816-4C7E-BCD5-88708C0A9AC7}" srcOrd="0" destOrd="0" presId="urn:microsoft.com/office/officeart/2016/7/layout/RepeatingBendingProcessNew"/>
    <dgm:cxn modelId="{1786434E-7E04-432B-9ED8-C3151EBB23AB}" srcId="{E83A1C37-9F70-437F-AFE0-0098419E142B}" destId="{414A9738-C723-4296-9B0C-EEF473F169F5}" srcOrd="5" destOrd="0" parTransId="{9DEA7931-12F5-4A92-9E91-862B383B536D}" sibTransId="{59A50947-F529-4D3A-B1C0-46A9C0CFFA18}"/>
    <dgm:cxn modelId="{3AF26A6E-5FFE-4A08-B2EE-474B5614A5DE}" srcId="{E83A1C37-9F70-437F-AFE0-0098419E142B}" destId="{FD7A9443-E88B-428A-B7EB-2FD99314FE3B}" srcOrd="0" destOrd="0" parTransId="{11870EDC-614E-4C98-AF41-A1A8E3920A30}" sibTransId="{DE9F4F87-4EFA-4E0F-B505-36E67D09ABA5}"/>
    <dgm:cxn modelId="{737F1250-3E34-4987-8912-AFB0DE454FAA}" srcId="{E83A1C37-9F70-437F-AFE0-0098419E142B}" destId="{499BFE6A-E105-46E1-8A70-F208DE709AF5}" srcOrd="13" destOrd="0" parTransId="{D8288A86-A4F1-48B5-9A9F-7035DD92E0BA}" sibTransId="{E14F0EE6-07F7-4058-B66F-36D0338F835B}"/>
    <dgm:cxn modelId="{BFA2AD72-ED82-4203-B3FE-0E70FBDD9CB2}" type="presOf" srcId="{1F0ADB7C-7792-4036-BE67-8213A8DBE83D}" destId="{252C95E1-16B8-4ED2-BDDC-518FA93B61D9}" srcOrd="0" destOrd="0" presId="urn:microsoft.com/office/officeart/2016/7/layout/RepeatingBendingProcessNew"/>
    <dgm:cxn modelId="{EF94D954-2F1B-4E74-A0F8-11B279036CB1}" srcId="{E83A1C37-9F70-437F-AFE0-0098419E142B}" destId="{1A1854A9-94D8-42B3-83D0-EDE2517EFE7E}" srcOrd="1" destOrd="0" parTransId="{F66617A4-FB89-4DA2-8D11-2C3900D4C3C4}" sibTransId="{79C8D70E-B733-4766-B588-2E2D88C6D13C}"/>
    <dgm:cxn modelId="{DC78F054-1476-4CF4-8C97-BEC6C9B62836}" type="presOf" srcId="{A12FFEFF-4DFC-43A7-88BB-08567B7D3594}" destId="{49A618B1-165D-46EC-871C-6615DD319EAA}" srcOrd="0" destOrd="0" presId="urn:microsoft.com/office/officeart/2016/7/layout/RepeatingBendingProcessNew"/>
    <dgm:cxn modelId="{286B5376-1B75-4E71-942A-8C545076CE46}" type="presOf" srcId="{AA82206B-1CE2-426C-A4DC-69984683F98E}" destId="{263155F2-3BCF-4113-A80E-0F0FD7A405D2}" srcOrd="0" destOrd="0" presId="urn:microsoft.com/office/officeart/2016/7/layout/RepeatingBendingProcessNew"/>
    <dgm:cxn modelId="{E35BEF56-9EC4-4CAB-B5EF-4D98D9F5172D}" type="presOf" srcId="{1BB5B882-2A6E-45B0-8363-8D16A66F04BF}" destId="{37A644A6-F1C3-4069-A7D2-72675AEF110D}" srcOrd="0" destOrd="0" presId="urn:microsoft.com/office/officeart/2016/7/layout/RepeatingBendingProcessNew"/>
    <dgm:cxn modelId="{23B9EF57-81AB-4C76-9678-BDBF775BF13D}" type="presOf" srcId="{C2151687-4BA2-4FA4-A926-63E4F33503F1}" destId="{F3DD3282-9A12-4E68-8EDF-772B6B4B6A61}" srcOrd="0" destOrd="0" presId="urn:microsoft.com/office/officeart/2016/7/layout/RepeatingBendingProcessNew"/>
    <dgm:cxn modelId="{CADDF877-81B9-4AAF-ADC5-8887758D58FB}" type="presOf" srcId="{F23F068A-1FDF-41C1-9B4F-2B8F32E939D7}" destId="{803CBBCA-4FCD-4F2A-809A-B0EFC05429B5}" srcOrd="0" destOrd="0" presId="urn:microsoft.com/office/officeart/2016/7/layout/RepeatingBendingProcessNew"/>
    <dgm:cxn modelId="{E8851D58-DABC-4EB7-B993-7D897ADFAE2E}" type="presOf" srcId="{7B52C693-105E-4ECE-890C-CC001E1AE2E5}" destId="{861DDE23-2537-47A0-8507-ED943E7C919F}" srcOrd="0" destOrd="0" presId="urn:microsoft.com/office/officeart/2016/7/layout/RepeatingBendingProcessNew"/>
    <dgm:cxn modelId="{B9A96D96-899B-4F1C-8371-15426C68A842}" type="presOf" srcId="{B0B35772-54A2-4D44-A79B-B0C7C76B5899}" destId="{710BAB63-0EBB-4D6B-A98E-0D30ADD350ED}" srcOrd="0" destOrd="0" presId="urn:microsoft.com/office/officeart/2016/7/layout/RepeatingBendingProcessNew"/>
    <dgm:cxn modelId="{9FCC8E9D-1B01-4BCB-951E-2D55F6FEE0E5}" type="presOf" srcId="{79C8D70E-B733-4766-B588-2E2D88C6D13C}" destId="{F264ADBA-6DAE-4AF1-BA40-9479B87A5A2D}" srcOrd="0" destOrd="0" presId="urn:microsoft.com/office/officeart/2016/7/layout/RepeatingBendingProcessNew"/>
    <dgm:cxn modelId="{7C1099A0-3B0C-49A9-89D8-EC7F71DB582D}" srcId="{E83A1C37-9F70-437F-AFE0-0098419E142B}" destId="{AA82206B-1CE2-426C-A4DC-69984683F98E}" srcOrd="10" destOrd="0" parTransId="{EA2F553E-5758-4952-92D2-FDE39139829C}" sibTransId="{705785FF-59FF-4296-B7AC-A503621A4451}"/>
    <dgm:cxn modelId="{716D16A4-42B8-49B1-8079-A454AB35D27E}" type="presOf" srcId="{A12FFEFF-4DFC-43A7-88BB-08567B7D3594}" destId="{91683791-DF8E-4EF8-9C22-9BEF42CB6D4B}" srcOrd="1" destOrd="0" presId="urn:microsoft.com/office/officeart/2016/7/layout/RepeatingBendingProcessNew"/>
    <dgm:cxn modelId="{149642A4-108C-483A-9527-548F245AD6C7}" type="presOf" srcId="{187482D0-3DD5-42C6-AD5A-B2DE0BB42E24}" destId="{9368E510-B04C-47C4-9555-E42C8ABBE242}" srcOrd="0" destOrd="0" presId="urn:microsoft.com/office/officeart/2016/7/layout/RepeatingBendingProcessNew"/>
    <dgm:cxn modelId="{CD4348AA-34EE-4282-9F66-E9D94FFC390F}" type="presOf" srcId="{FD7A9443-E88B-428A-B7EB-2FD99314FE3B}" destId="{6A50D249-2D2D-4683-8C9C-0E8966557204}" srcOrd="0" destOrd="0" presId="urn:microsoft.com/office/officeart/2016/7/layout/RepeatingBendingProcessNew"/>
    <dgm:cxn modelId="{6F0791AC-ECAC-4FBC-A3E5-C4C7DDD97913}" type="presOf" srcId="{D8C1E3BD-4D79-45B6-A88C-4DBD3BC595A0}" destId="{F8A24865-BD2B-4992-8E5C-7B40FE82809A}" srcOrd="0" destOrd="0" presId="urn:microsoft.com/office/officeart/2016/7/layout/RepeatingBendingProcessNew"/>
    <dgm:cxn modelId="{B2A82CAF-ACF8-4088-B523-F2B71F2B14F9}" type="presOf" srcId="{79C8D70E-B733-4766-B588-2E2D88C6D13C}" destId="{44E61D75-191D-4042-991D-2DD4515D95C3}" srcOrd="1" destOrd="0" presId="urn:microsoft.com/office/officeart/2016/7/layout/RepeatingBendingProcessNew"/>
    <dgm:cxn modelId="{35C4E4B3-C064-4017-A6CA-8ACE4BE4794A}" type="presOf" srcId="{59A50947-F529-4D3A-B1C0-46A9C0CFFA18}" destId="{7F5B39D2-0E23-4923-BDB9-A6472E387D0C}" srcOrd="1" destOrd="0" presId="urn:microsoft.com/office/officeart/2016/7/layout/RepeatingBendingProcessNew"/>
    <dgm:cxn modelId="{ED3D25B6-7101-4B77-AE13-A6BCCEC231D0}" type="presOf" srcId="{ADA7B40D-0039-4BFE-92A6-9477BEE8991F}" destId="{79191F39-7381-4B84-8FA4-184E86EE50FF}" srcOrd="0" destOrd="0" presId="urn:microsoft.com/office/officeart/2016/7/layout/RepeatingBendingProcessNew"/>
    <dgm:cxn modelId="{8C5239BC-5EFE-4D7B-8DC5-5FAFF20EC6E1}" type="presOf" srcId="{DE9F4F87-4EFA-4E0F-B505-36E67D09ABA5}" destId="{821F7A3C-18EA-4DDA-8E6B-6B9E01334223}" srcOrd="0" destOrd="0" presId="urn:microsoft.com/office/officeart/2016/7/layout/RepeatingBendingProcessNew"/>
    <dgm:cxn modelId="{5FB60EC4-FB7C-484D-A62D-563B45B9C081}" type="presOf" srcId="{705785FF-59FF-4296-B7AC-A503621A4451}" destId="{1F1269EA-9916-4B24-9D99-FF5E11ACF4A8}" srcOrd="1" destOrd="0" presId="urn:microsoft.com/office/officeart/2016/7/layout/RepeatingBendingProcessNew"/>
    <dgm:cxn modelId="{14CF7EC5-A030-49A1-BC20-0CCA172D6A9B}" type="presOf" srcId="{C2151687-4BA2-4FA4-A926-63E4F33503F1}" destId="{987DC1EC-8D02-41D1-B6BD-2F4D194B8A2F}" srcOrd="1" destOrd="0" presId="urn:microsoft.com/office/officeart/2016/7/layout/RepeatingBendingProcessNew"/>
    <dgm:cxn modelId="{F11594C7-27AE-4D9D-AB62-E182C9EF9A5B}" srcId="{E83A1C37-9F70-437F-AFE0-0098419E142B}" destId="{ADA7B40D-0039-4BFE-92A6-9477BEE8991F}" srcOrd="2" destOrd="0" parTransId="{7412F1C8-F0AD-4C51-8455-3D84B2CCE03E}" sibTransId="{34494252-D774-427F-A791-912250C787AD}"/>
    <dgm:cxn modelId="{E49EA2CC-A1E4-4354-8ABF-8B19E25831AF}" type="presOf" srcId="{13DE2746-5B30-4B43-A2D8-2C0CD2A811DE}" destId="{A6B49E86-C9DA-4B29-96BA-93498D1C5742}" srcOrd="0" destOrd="0" presId="urn:microsoft.com/office/officeart/2016/7/layout/RepeatingBendingProcessNew"/>
    <dgm:cxn modelId="{273465CF-8558-471A-9ED5-0E1B498B1D70}" type="presOf" srcId="{D8C1E3BD-4D79-45B6-A88C-4DBD3BC595A0}" destId="{D8401133-2945-4022-9922-84329F20D46B}" srcOrd="1" destOrd="0" presId="urn:microsoft.com/office/officeart/2016/7/layout/RepeatingBendingProcessNew"/>
    <dgm:cxn modelId="{ED506FCF-510C-4AB0-879A-2C3B98AF9AAF}" srcId="{E83A1C37-9F70-437F-AFE0-0098419E142B}" destId="{70EC3ECD-F159-4343-9578-699A4B3E19AD}" srcOrd="3" destOrd="0" parTransId="{87652E14-84A3-4E0B-9D8B-DBD59B11F271}" sibTransId="{1BB5B882-2A6E-45B0-8363-8D16A66F04BF}"/>
    <dgm:cxn modelId="{A6BE9BD0-62D6-48FA-898F-CFA3522421E4}" srcId="{E83A1C37-9F70-437F-AFE0-0098419E142B}" destId="{1F0ADB7C-7792-4036-BE67-8213A8DBE83D}" srcOrd="8" destOrd="0" parTransId="{167E1803-52A9-4B2F-8B9C-4388D89D96AD}" sibTransId="{D8C1E3BD-4D79-45B6-A88C-4DBD3BC595A0}"/>
    <dgm:cxn modelId="{E536E0E0-F6B1-4324-8536-410FE9018DF0}" type="presOf" srcId="{1A1854A9-94D8-42B3-83D0-EDE2517EFE7E}" destId="{2BCE9E6B-F452-47A7-8119-0F762BCAAC64}" srcOrd="0" destOrd="0" presId="urn:microsoft.com/office/officeart/2016/7/layout/RepeatingBendingProcessNew"/>
    <dgm:cxn modelId="{C4A189E2-8C32-42CE-B36D-F914DCE20C71}" srcId="{E83A1C37-9F70-437F-AFE0-0098419E142B}" destId="{F23F068A-1FDF-41C1-9B4F-2B8F32E939D7}" srcOrd="9" destOrd="0" parTransId="{ED41E12D-7F2B-496C-8259-A8789C19E8B2}" sibTransId="{A12FFEFF-4DFC-43A7-88BB-08567B7D3594}"/>
    <dgm:cxn modelId="{D5845DE5-6FC7-46E0-AF15-94AE64F54CD2}" srcId="{E83A1C37-9F70-437F-AFE0-0098419E142B}" destId="{B0B35772-54A2-4D44-A79B-B0C7C76B5899}" srcOrd="6" destOrd="0" parTransId="{80BF4E16-6891-4D03-B213-915599A3A3EB}" sibTransId="{1EB815DD-5BF3-4139-BB72-DE7754A02988}"/>
    <dgm:cxn modelId="{FC3D42E5-D1A5-4711-BB45-4F00526C9F69}" type="presOf" srcId="{C8EB5287-E83B-467E-8A07-9203C27697AE}" destId="{18416C60-1ED1-4571-B0F6-0E11F370EEA9}" srcOrd="0" destOrd="0" presId="urn:microsoft.com/office/officeart/2016/7/layout/RepeatingBendingProcessNew"/>
    <dgm:cxn modelId="{CB1B54E8-5835-40E8-BE34-026E88946EA8}" type="presOf" srcId="{1BB5B882-2A6E-45B0-8363-8D16A66F04BF}" destId="{9F2C9A3E-2B2B-4A4A-8A15-C0C5C9C9A170}" srcOrd="1" destOrd="0" presId="urn:microsoft.com/office/officeart/2016/7/layout/RepeatingBendingProcessNew"/>
    <dgm:cxn modelId="{9EA97CF5-0F1B-424E-A343-9615966F138D}" srcId="{E83A1C37-9F70-437F-AFE0-0098419E142B}" destId="{0DDEC3B8-01B2-4070-BD08-67510CA36260}" srcOrd="7" destOrd="0" parTransId="{E54EB174-AA46-4416-806C-0153AF637806}" sibTransId="{C2151687-4BA2-4FA4-A926-63E4F33503F1}"/>
    <dgm:cxn modelId="{F2AAD9F9-FFD3-42CD-9935-07B86E7A251B}" type="presOf" srcId="{83D876A1-3CEB-4451-9CAE-178D6E009EE6}" destId="{0C6093CA-C408-4D3B-A9EA-5A1ED541855C}" srcOrd="1" destOrd="0" presId="urn:microsoft.com/office/officeart/2016/7/layout/RepeatingBendingProcessNew"/>
    <dgm:cxn modelId="{B53B12FE-E84E-48DB-8176-B0E42AF94AD9}" srcId="{E83A1C37-9F70-437F-AFE0-0098419E142B}" destId="{13DE2746-5B30-4B43-A2D8-2C0CD2A811DE}" srcOrd="12" destOrd="0" parTransId="{2440CBCC-565B-4AA5-B082-A47C06728494}" sibTransId="{83D876A1-3CEB-4451-9CAE-178D6E009EE6}"/>
    <dgm:cxn modelId="{A83A6DF1-9079-4773-911E-0F86C6B8AB7F}" type="presParOf" srcId="{67DFB671-2073-4F79-BF63-A2EAA453EAF0}" destId="{6A50D249-2D2D-4683-8C9C-0E8966557204}" srcOrd="0" destOrd="0" presId="urn:microsoft.com/office/officeart/2016/7/layout/RepeatingBendingProcessNew"/>
    <dgm:cxn modelId="{6584A370-6240-4A3B-B7BB-AC9CD0DBBE6E}" type="presParOf" srcId="{67DFB671-2073-4F79-BF63-A2EAA453EAF0}" destId="{821F7A3C-18EA-4DDA-8E6B-6B9E01334223}" srcOrd="1" destOrd="0" presId="urn:microsoft.com/office/officeart/2016/7/layout/RepeatingBendingProcessNew"/>
    <dgm:cxn modelId="{3ADEA61C-EC7D-4F8B-8D28-988DE543D4AB}" type="presParOf" srcId="{821F7A3C-18EA-4DDA-8E6B-6B9E01334223}" destId="{A1D6D6D0-50C1-4A6D-9979-FC79A19055E5}" srcOrd="0" destOrd="0" presId="urn:microsoft.com/office/officeart/2016/7/layout/RepeatingBendingProcessNew"/>
    <dgm:cxn modelId="{4F8FEE52-ADCE-4A7F-B339-0548862211ED}" type="presParOf" srcId="{67DFB671-2073-4F79-BF63-A2EAA453EAF0}" destId="{2BCE9E6B-F452-47A7-8119-0F762BCAAC64}" srcOrd="2" destOrd="0" presId="urn:microsoft.com/office/officeart/2016/7/layout/RepeatingBendingProcessNew"/>
    <dgm:cxn modelId="{6FCF4256-0978-4700-A6A5-94B643463D9E}" type="presParOf" srcId="{67DFB671-2073-4F79-BF63-A2EAA453EAF0}" destId="{F264ADBA-6DAE-4AF1-BA40-9479B87A5A2D}" srcOrd="3" destOrd="0" presId="urn:microsoft.com/office/officeart/2016/7/layout/RepeatingBendingProcessNew"/>
    <dgm:cxn modelId="{E38D794A-7BAE-426F-9F1F-B8CFA1AFFFE2}" type="presParOf" srcId="{F264ADBA-6DAE-4AF1-BA40-9479B87A5A2D}" destId="{44E61D75-191D-4042-991D-2DD4515D95C3}" srcOrd="0" destOrd="0" presId="urn:microsoft.com/office/officeart/2016/7/layout/RepeatingBendingProcessNew"/>
    <dgm:cxn modelId="{FFA1A47D-79B4-4205-A807-2B6B1F9CF0A6}" type="presParOf" srcId="{67DFB671-2073-4F79-BF63-A2EAA453EAF0}" destId="{79191F39-7381-4B84-8FA4-184E86EE50FF}" srcOrd="4" destOrd="0" presId="urn:microsoft.com/office/officeart/2016/7/layout/RepeatingBendingProcessNew"/>
    <dgm:cxn modelId="{45EA58DC-0707-4644-B013-14B0FBC4CEC4}" type="presParOf" srcId="{67DFB671-2073-4F79-BF63-A2EAA453EAF0}" destId="{EB981A47-B4E7-47DA-AE68-6F7F25D1C86C}" srcOrd="5" destOrd="0" presId="urn:microsoft.com/office/officeart/2016/7/layout/RepeatingBendingProcessNew"/>
    <dgm:cxn modelId="{63825313-D135-4A22-9B53-C7D51E792980}" type="presParOf" srcId="{EB981A47-B4E7-47DA-AE68-6F7F25D1C86C}" destId="{A87FAED4-876C-4AFF-ABA8-21936E091E95}" srcOrd="0" destOrd="0" presId="urn:microsoft.com/office/officeart/2016/7/layout/RepeatingBendingProcessNew"/>
    <dgm:cxn modelId="{9D953505-E45B-40A4-BD1B-0BCBA3A8DBD3}" type="presParOf" srcId="{67DFB671-2073-4F79-BF63-A2EAA453EAF0}" destId="{16F6ADCC-89A9-4513-A324-8D613C0EF314}" srcOrd="6" destOrd="0" presId="urn:microsoft.com/office/officeart/2016/7/layout/RepeatingBendingProcessNew"/>
    <dgm:cxn modelId="{B7DA05CB-03BA-4522-9E5F-4B9F1E8D25CD}" type="presParOf" srcId="{67DFB671-2073-4F79-BF63-A2EAA453EAF0}" destId="{37A644A6-F1C3-4069-A7D2-72675AEF110D}" srcOrd="7" destOrd="0" presId="urn:microsoft.com/office/officeart/2016/7/layout/RepeatingBendingProcessNew"/>
    <dgm:cxn modelId="{477F3EA0-3904-43B0-930E-C25A47215B8E}" type="presParOf" srcId="{37A644A6-F1C3-4069-A7D2-72675AEF110D}" destId="{9F2C9A3E-2B2B-4A4A-8A15-C0C5C9C9A170}" srcOrd="0" destOrd="0" presId="urn:microsoft.com/office/officeart/2016/7/layout/RepeatingBendingProcessNew"/>
    <dgm:cxn modelId="{6506884E-54AC-4BBB-BEEA-58B1013D1117}" type="presParOf" srcId="{67DFB671-2073-4F79-BF63-A2EAA453EAF0}" destId="{861DDE23-2537-47A0-8507-ED943E7C919F}" srcOrd="8" destOrd="0" presId="urn:microsoft.com/office/officeart/2016/7/layout/RepeatingBendingProcessNew"/>
    <dgm:cxn modelId="{86A4295B-407F-41AE-9B6B-D804F212DAC6}" type="presParOf" srcId="{67DFB671-2073-4F79-BF63-A2EAA453EAF0}" destId="{18416C60-1ED1-4571-B0F6-0E11F370EEA9}" srcOrd="9" destOrd="0" presId="urn:microsoft.com/office/officeart/2016/7/layout/RepeatingBendingProcessNew"/>
    <dgm:cxn modelId="{95085B4F-6EEF-4671-B371-224283F786EA}" type="presParOf" srcId="{18416C60-1ED1-4571-B0F6-0E11F370EEA9}" destId="{2D99FD0C-47CB-424B-B008-5F64B7D8FEBF}" srcOrd="0" destOrd="0" presId="urn:microsoft.com/office/officeart/2016/7/layout/RepeatingBendingProcessNew"/>
    <dgm:cxn modelId="{8E85C214-EF9B-4173-A91A-9F437129D093}" type="presParOf" srcId="{67DFB671-2073-4F79-BF63-A2EAA453EAF0}" destId="{62844667-DCB0-4C39-A42D-8C36A4161ACF}" srcOrd="10" destOrd="0" presId="urn:microsoft.com/office/officeart/2016/7/layout/RepeatingBendingProcessNew"/>
    <dgm:cxn modelId="{85FC6198-1572-47A3-B25E-5A9A629418E6}" type="presParOf" srcId="{67DFB671-2073-4F79-BF63-A2EAA453EAF0}" destId="{F82AFCB9-FF26-4EEC-A023-72143E1101FF}" srcOrd="11" destOrd="0" presId="urn:microsoft.com/office/officeart/2016/7/layout/RepeatingBendingProcessNew"/>
    <dgm:cxn modelId="{E2F34E65-8052-429F-BC10-4EF2AE6CB10C}" type="presParOf" srcId="{F82AFCB9-FF26-4EEC-A023-72143E1101FF}" destId="{7F5B39D2-0E23-4923-BDB9-A6472E387D0C}" srcOrd="0" destOrd="0" presId="urn:microsoft.com/office/officeart/2016/7/layout/RepeatingBendingProcessNew"/>
    <dgm:cxn modelId="{2D2F8DBC-C75E-464F-9283-C3E9F3158262}" type="presParOf" srcId="{67DFB671-2073-4F79-BF63-A2EAA453EAF0}" destId="{710BAB63-0EBB-4D6B-A98E-0D30ADD350ED}" srcOrd="12" destOrd="0" presId="urn:microsoft.com/office/officeart/2016/7/layout/RepeatingBendingProcessNew"/>
    <dgm:cxn modelId="{9E745CAA-EDA1-4A92-A21D-E1EC730C242D}" type="presParOf" srcId="{67DFB671-2073-4F79-BF63-A2EAA453EAF0}" destId="{B7307B16-D816-4C7E-BCD5-88708C0A9AC7}" srcOrd="13" destOrd="0" presId="urn:microsoft.com/office/officeart/2016/7/layout/RepeatingBendingProcessNew"/>
    <dgm:cxn modelId="{AF07229D-BFE3-4C66-B39C-0425BC11F92F}" type="presParOf" srcId="{B7307B16-D816-4C7E-BCD5-88708C0A9AC7}" destId="{5EA56849-6F00-4CB3-9BA8-A748C614197F}" srcOrd="0" destOrd="0" presId="urn:microsoft.com/office/officeart/2016/7/layout/RepeatingBendingProcessNew"/>
    <dgm:cxn modelId="{872DA2F7-6DA4-400F-9DEA-EF002F6172E0}" type="presParOf" srcId="{67DFB671-2073-4F79-BF63-A2EAA453EAF0}" destId="{9E9EDB7D-2514-4BAD-90A1-91BA55C115C1}" srcOrd="14" destOrd="0" presId="urn:microsoft.com/office/officeart/2016/7/layout/RepeatingBendingProcessNew"/>
    <dgm:cxn modelId="{BF50E857-9594-4EA5-846C-5EEF9741A3BF}" type="presParOf" srcId="{67DFB671-2073-4F79-BF63-A2EAA453EAF0}" destId="{F3DD3282-9A12-4E68-8EDF-772B6B4B6A61}" srcOrd="15" destOrd="0" presId="urn:microsoft.com/office/officeart/2016/7/layout/RepeatingBendingProcessNew"/>
    <dgm:cxn modelId="{F9163944-1A71-47FE-9F30-472BD78C9552}" type="presParOf" srcId="{F3DD3282-9A12-4E68-8EDF-772B6B4B6A61}" destId="{987DC1EC-8D02-41D1-B6BD-2F4D194B8A2F}" srcOrd="0" destOrd="0" presId="urn:microsoft.com/office/officeart/2016/7/layout/RepeatingBendingProcessNew"/>
    <dgm:cxn modelId="{91C06CBC-3F40-485E-BE42-6A6BBCCF226E}" type="presParOf" srcId="{67DFB671-2073-4F79-BF63-A2EAA453EAF0}" destId="{252C95E1-16B8-4ED2-BDDC-518FA93B61D9}" srcOrd="16" destOrd="0" presId="urn:microsoft.com/office/officeart/2016/7/layout/RepeatingBendingProcessNew"/>
    <dgm:cxn modelId="{AA5D5DA6-4BA5-4DA7-9C95-29B44C7B5106}" type="presParOf" srcId="{67DFB671-2073-4F79-BF63-A2EAA453EAF0}" destId="{F8A24865-BD2B-4992-8E5C-7B40FE82809A}" srcOrd="17" destOrd="0" presId="urn:microsoft.com/office/officeart/2016/7/layout/RepeatingBendingProcessNew"/>
    <dgm:cxn modelId="{256802C5-1CE9-4678-9787-7F1BA51D111C}" type="presParOf" srcId="{F8A24865-BD2B-4992-8E5C-7B40FE82809A}" destId="{D8401133-2945-4022-9922-84329F20D46B}" srcOrd="0" destOrd="0" presId="urn:microsoft.com/office/officeart/2016/7/layout/RepeatingBendingProcessNew"/>
    <dgm:cxn modelId="{68A40959-D847-4CFE-8FA6-0DB8B365A395}" type="presParOf" srcId="{67DFB671-2073-4F79-BF63-A2EAA453EAF0}" destId="{803CBBCA-4FCD-4F2A-809A-B0EFC05429B5}" srcOrd="18" destOrd="0" presId="urn:microsoft.com/office/officeart/2016/7/layout/RepeatingBendingProcessNew"/>
    <dgm:cxn modelId="{C8DB3D8F-8066-4CA9-A38F-DA8015C122D2}" type="presParOf" srcId="{67DFB671-2073-4F79-BF63-A2EAA453EAF0}" destId="{49A618B1-165D-46EC-871C-6615DD319EAA}" srcOrd="19" destOrd="0" presId="urn:microsoft.com/office/officeart/2016/7/layout/RepeatingBendingProcessNew"/>
    <dgm:cxn modelId="{C13766DD-09C1-4B7F-8641-1E8EBBEF1AEC}" type="presParOf" srcId="{49A618B1-165D-46EC-871C-6615DD319EAA}" destId="{91683791-DF8E-4EF8-9C22-9BEF42CB6D4B}" srcOrd="0" destOrd="0" presId="urn:microsoft.com/office/officeart/2016/7/layout/RepeatingBendingProcessNew"/>
    <dgm:cxn modelId="{217F0218-9E95-4753-A1C7-38B2D81AF9F2}" type="presParOf" srcId="{67DFB671-2073-4F79-BF63-A2EAA453EAF0}" destId="{263155F2-3BCF-4113-A80E-0F0FD7A405D2}" srcOrd="20" destOrd="0" presId="urn:microsoft.com/office/officeart/2016/7/layout/RepeatingBendingProcessNew"/>
    <dgm:cxn modelId="{8FA01607-AE4B-4B40-BF2D-682FF8A046B9}" type="presParOf" srcId="{67DFB671-2073-4F79-BF63-A2EAA453EAF0}" destId="{6396FE1C-581C-4AA4-AED4-0A028254045A}" srcOrd="21" destOrd="0" presId="urn:microsoft.com/office/officeart/2016/7/layout/RepeatingBendingProcessNew"/>
    <dgm:cxn modelId="{B6F23EB0-F56C-405E-B59D-30B326AEF936}" type="presParOf" srcId="{6396FE1C-581C-4AA4-AED4-0A028254045A}" destId="{1F1269EA-9916-4B24-9D99-FF5E11ACF4A8}" srcOrd="0" destOrd="0" presId="urn:microsoft.com/office/officeart/2016/7/layout/RepeatingBendingProcessNew"/>
    <dgm:cxn modelId="{106189CA-9371-4C6E-9CCA-96E886C055B3}" type="presParOf" srcId="{67DFB671-2073-4F79-BF63-A2EAA453EAF0}" destId="{6C8F4019-0539-4550-9284-3C2A0EA86F1D}" srcOrd="22" destOrd="0" presId="urn:microsoft.com/office/officeart/2016/7/layout/RepeatingBendingProcessNew"/>
    <dgm:cxn modelId="{A4E479E3-5CE7-4497-9C1E-D1949876D65C}" type="presParOf" srcId="{67DFB671-2073-4F79-BF63-A2EAA453EAF0}" destId="{9368E510-B04C-47C4-9555-E42C8ABBE242}" srcOrd="23" destOrd="0" presId="urn:microsoft.com/office/officeart/2016/7/layout/RepeatingBendingProcessNew"/>
    <dgm:cxn modelId="{1100D166-99FC-4B11-B3F4-94882FA0CED3}" type="presParOf" srcId="{9368E510-B04C-47C4-9555-E42C8ABBE242}" destId="{11B2FAC2-7C6F-40B9-93D9-55B1D39E66FE}" srcOrd="0" destOrd="0" presId="urn:microsoft.com/office/officeart/2016/7/layout/RepeatingBendingProcessNew"/>
    <dgm:cxn modelId="{B28743A2-074C-4C96-94E5-3C621C3A42BB}" type="presParOf" srcId="{67DFB671-2073-4F79-BF63-A2EAA453EAF0}" destId="{A6B49E86-C9DA-4B29-96BA-93498D1C5742}" srcOrd="24" destOrd="0" presId="urn:microsoft.com/office/officeart/2016/7/layout/RepeatingBendingProcessNew"/>
    <dgm:cxn modelId="{EA4A1622-78A7-4148-B2E9-6FEC890BA9A0}" type="presParOf" srcId="{67DFB671-2073-4F79-BF63-A2EAA453EAF0}" destId="{7EDFC02C-E5B5-4B9D-9A70-E6565D2138AA}" srcOrd="25" destOrd="0" presId="urn:microsoft.com/office/officeart/2016/7/layout/RepeatingBendingProcessNew"/>
    <dgm:cxn modelId="{21BE0391-6F1F-4888-B639-35E274EE082F}" type="presParOf" srcId="{7EDFC02C-E5B5-4B9D-9A70-E6565D2138AA}" destId="{0C6093CA-C408-4D3B-A9EA-5A1ED541855C}" srcOrd="0" destOrd="0" presId="urn:microsoft.com/office/officeart/2016/7/layout/RepeatingBendingProcessNew"/>
    <dgm:cxn modelId="{A934D2BF-BB11-4DAB-8AC1-191FA3B37A6F}" type="presParOf" srcId="{67DFB671-2073-4F79-BF63-A2EAA453EAF0}" destId="{ECA13CA1-78D7-42F2-8E3C-2B2E495AAAF6}" srcOrd="26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1F7A3C-18EA-4DDA-8E6B-6B9E01334223}">
      <dsp:nvSpPr>
        <dsp:cNvPr id="0" name=""/>
        <dsp:cNvSpPr/>
      </dsp:nvSpPr>
      <dsp:spPr>
        <a:xfrm>
          <a:off x="1980849" y="481853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157406" y="525553"/>
        <a:ext cx="20195" cy="4039"/>
      </dsp:txXfrm>
    </dsp:sp>
    <dsp:sp modelId="{6A50D249-2D2D-4683-8C9C-0E8966557204}">
      <dsp:nvSpPr>
        <dsp:cNvPr id="0" name=""/>
        <dsp:cNvSpPr/>
      </dsp:nvSpPr>
      <dsp:spPr>
        <a:xfrm>
          <a:off x="226521" y="735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Using a with-statement for automatic closing of file at the end</a:t>
          </a:r>
          <a:endParaRPr lang="en-US" sz="1200" kern="1200"/>
        </a:p>
      </dsp:txBody>
      <dsp:txXfrm>
        <a:off x="226521" y="735"/>
        <a:ext cx="1756127" cy="1053676"/>
      </dsp:txXfrm>
    </dsp:sp>
    <dsp:sp modelId="{F264ADBA-6DAE-4AF1-BA40-9479B87A5A2D}">
      <dsp:nvSpPr>
        <dsp:cNvPr id="0" name=""/>
        <dsp:cNvSpPr/>
      </dsp:nvSpPr>
      <dsp:spPr>
        <a:xfrm>
          <a:off x="4140885" y="481853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317442" y="525553"/>
        <a:ext cx="20195" cy="4039"/>
      </dsp:txXfrm>
    </dsp:sp>
    <dsp:sp modelId="{2BCE9E6B-F452-47A7-8119-0F762BCAAC64}">
      <dsp:nvSpPr>
        <dsp:cNvPr id="0" name=""/>
        <dsp:cNvSpPr/>
      </dsp:nvSpPr>
      <dsp:spPr>
        <a:xfrm>
          <a:off x="2386558" y="735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tweets_file is the variable that refers to the file handle returned by calling ‘open’</a:t>
          </a:r>
          <a:endParaRPr lang="en-US" sz="1200" kern="1200"/>
        </a:p>
      </dsp:txBody>
      <dsp:txXfrm>
        <a:off x="2386558" y="735"/>
        <a:ext cx="1756127" cy="1053676"/>
      </dsp:txXfrm>
    </dsp:sp>
    <dsp:sp modelId="{EB981A47-B4E7-47DA-AE68-6F7F25D1C86C}">
      <dsp:nvSpPr>
        <dsp:cNvPr id="0" name=""/>
        <dsp:cNvSpPr/>
      </dsp:nvSpPr>
      <dsp:spPr>
        <a:xfrm>
          <a:off x="6300922" y="481853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477479" y="525553"/>
        <a:ext cx="20195" cy="4039"/>
      </dsp:txXfrm>
    </dsp:sp>
    <dsp:sp modelId="{79191F39-7381-4B84-8FA4-184E86EE50FF}">
      <dsp:nvSpPr>
        <dsp:cNvPr id="0" name=""/>
        <dsp:cNvSpPr/>
      </dsp:nvSpPr>
      <dsp:spPr>
        <a:xfrm>
          <a:off x="4546594" y="735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The open function takes as input the location/name of the file and optionally text encoding</a:t>
          </a:r>
          <a:endParaRPr lang="en-US" sz="1200" kern="1200"/>
        </a:p>
      </dsp:txBody>
      <dsp:txXfrm>
        <a:off x="4546594" y="735"/>
        <a:ext cx="1756127" cy="1053676"/>
      </dsp:txXfrm>
    </dsp:sp>
    <dsp:sp modelId="{37A644A6-F1C3-4069-A7D2-72675AEF110D}">
      <dsp:nvSpPr>
        <dsp:cNvPr id="0" name=""/>
        <dsp:cNvSpPr/>
      </dsp:nvSpPr>
      <dsp:spPr>
        <a:xfrm>
          <a:off x="8460958" y="481853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637515" y="525553"/>
        <a:ext cx="20195" cy="4039"/>
      </dsp:txXfrm>
    </dsp:sp>
    <dsp:sp modelId="{16F6ADCC-89A9-4513-A324-8D613C0EF314}">
      <dsp:nvSpPr>
        <dsp:cNvPr id="0" name=""/>
        <dsp:cNvSpPr/>
      </dsp:nvSpPr>
      <dsp:spPr>
        <a:xfrm>
          <a:off x="6706631" y="735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tweets is the variable that stores the return value of calling ‘load’ on the file handle: tweets_file</a:t>
          </a:r>
          <a:endParaRPr lang="en-US" sz="1200" kern="1200"/>
        </a:p>
      </dsp:txBody>
      <dsp:txXfrm>
        <a:off x="6706631" y="735"/>
        <a:ext cx="1756127" cy="1053676"/>
      </dsp:txXfrm>
    </dsp:sp>
    <dsp:sp modelId="{18416C60-1ED1-4571-B0F6-0E11F370EEA9}">
      <dsp:nvSpPr>
        <dsp:cNvPr id="0" name=""/>
        <dsp:cNvSpPr/>
      </dsp:nvSpPr>
      <dsp:spPr>
        <a:xfrm>
          <a:off x="1104585" y="1052611"/>
          <a:ext cx="8640146" cy="373309"/>
        </a:xfrm>
        <a:custGeom>
          <a:avLst/>
          <a:gdLst/>
          <a:ahLst/>
          <a:cxnLst/>
          <a:rect l="0" t="0" r="0" b="0"/>
          <a:pathLst>
            <a:path>
              <a:moveTo>
                <a:pt x="8640146" y="0"/>
              </a:moveTo>
              <a:lnTo>
                <a:pt x="8640146" y="203754"/>
              </a:lnTo>
              <a:lnTo>
                <a:pt x="0" y="203754"/>
              </a:lnTo>
              <a:lnTo>
                <a:pt x="0" y="373309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208418" y="1237246"/>
        <a:ext cx="432479" cy="4039"/>
      </dsp:txXfrm>
    </dsp:sp>
    <dsp:sp modelId="{861DDE23-2537-47A0-8507-ED943E7C919F}">
      <dsp:nvSpPr>
        <dsp:cNvPr id="0" name=""/>
        <dsp:cNvSpPr/>
      </dsp:nvSpPr>
      <dsp:spPr>
        <a:xfrm>
          <a:off x="8866667" y="735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json.load is the method from the library imported in line 1 taking care of parsing the JSON-file</a:t>
          </a:r>
          <a:endParaRPr lang="en-US" sz="1200" kern="1200"/>
        </a:p>
      </dsp:txBody>
      <dsp:txXfrm>
        <a:off x="8866667" y="735"/>
        <a:ext cx="1756127" cy="1053676"/>
      </dsp:txXfrm>
    </dsp:sp>
    <dsp:sp modelId="{F82AFCB9-FF26-4EEC-A023-72143E1101FF}">
      <dsp:nvSpPr>
        <dsp:cNvPr id="0" name=""/>
        <dsp:cNvSpPr/>
      </dsp:nvSpPr>
      <dsp:spPr>
        <a:xfrm>
          <a:off x="1980849" y="1939439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157406" y="1983139"/>
        <a:ext cx="20195" cy="4039"/>
      </dsp:txXfrm>
    </dsp:sp>
    <dsp:sp modelId="{62844667-DCB0-4C39-A42D-8C36A4161ACF}">
      <dsp:nvSpPr>
        <dsp:cNvPr id="0" name=""/>
        <dsp:cNvSpPr/>
      </dsp:nvSpPr>
      <dsp:spPr>
        <a:xfrm>
          <a:off x="226521" y="1458320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It returns python data types created/parsed from javascript/json data types </a:t>
          </a:r>
          <a:endParaRPr lang="en-US" sz="1200" kern="1200"/>
        </a:p>
      </dsp:txBody>
      <dsp:txXfrm>
        <a:off x="226521" y="1458320"/>
        <a:ext cx="1756127" cy="1053676"/>
      </dsp:txXfrm>
    </dsp:sp>
    <dsp:sp modelId="{B7307B16-D816-4C7E-BCD5-88708C0A9AC7}">
      <dsp:nvSpPr>
        <dsp:cNvPr id="0" name=""/>
        <dsp:cNvSpPr/>
      </dsp:nvSpPr>
      <dsp:spPr>
        <a:xfrm>
          <a:off x="4140885" y="1939439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317442" y="1983139"/>
        <a:ext cx="20195" cy="4039"/>
      </dsp:txXfrm>
    </dsp:sp>
    <dsp:sp modelId="{710BAB63-0EBB-4D6B-A98E-0D30ADD350ED}">
      <dsp:nvSpPr>
        <dsp:cNvPr id="0" name=""/>
        <dsp:cNvSpPr/>
      </dsp:nvSpPr>
      <dsp:spPr>
        <a:xfrm>
          <a:off x="2386558" y="1458320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The return value is a list (the whole object) that contains dictionaries (the separate tweets)</a:t>
          </a:r>
          <a:endParaRPr lang="en-US" sz="1200" kern="1200"/>
        </a:p>
      </dsp:txBody>
      <dsp:txXfrm>
        <a:off x="2386558" y="1458320"/>
        <a:ext cx="1756127" cy="1053676"/>
      </dsp:txXfrm>
    </dsp:sp>
    <dsp:sp modelId="{F3DD3282-9A12-4E68-8EDF-772B6B4B6A61}">
      <dsp:nvSpPr>
        <dsp:cNvPr id="0" name=""/>
        <dsp:cNvSpPr/>
      </dsp:nvSpPr>
      <dsp:spPr>
        <a:xfrm>
          <a:off x="6300922" y="1939439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477479" y="1983139"/>
        <a:ext cx="20195" cy="4039"/>
      </dsp:txXfrm>
    </dsp:sp>
    <dsp:sp modelId="{9E9EDB7D-2514-4BAD-90A1-91BA55C115C1}">
      <dsp:nvSpPr>
        <dsp:cNvPr id="0" name=""/>
        <dsp:cNvSpPr/>
      </dsp:nvSpPr>
      <dsp:spPr>
        <a:xfrm>
          <a:off x="4546594" y="1458320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By printing the length of the list you basically count the number of list items</a:t>
          </a:r>
          <a:endParaRPr lang="en-US" sz="1200" kern="1200"/>
        </a:p>
      </dsp:txBody>
      <dsp:txXfrm>
        <a:off x="4546594" y="1458320"/>
        <a:ext cx="1756127" cy="1053676"/>
      </dsp:txXfrm>
    </dsp:sp>
    <dsp:sp modelId="{F8A24865-BD2B-4992-8E5C-7B40FE82809A}">
      <dsp:nvSpPr>
        <dsp:cNvPr id="0" name=""/>
        <dsp:cNvSpPr/>
      </dsp:nvSpPr>
      <dsp:spPr>
        <a:xfrm>
          <a:off x="8460958" y="1939439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637515" y="1983139"/>
        <a:ext cx="20195" cy="4039"/>
      </dsp:txXfrm>
    </dsp:sp>
    <dsp:sp modelId="{252C95E1-16B8-4ED2-BDDC-518FA93B61D9}">
      <dsp:nvSpPr>
        <dsp:cNvPr id="0" name=""/>
        <dsp:cNvSpPr/>
      </dsp:nvSpPr>
      <dsp:spPr>
        <a:xfrm>
          <a:off x="6706631" y="1458320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The list items correspond to dictionaries/tweets</a:t>
          </a:r>
          <a:endParaRPr lang="en-US" sz="1200" kern="1200"/>
        </a:p>
      </dsp:txBody>
      <dsp:txXfrm>
        <a:off x="6706631" y="1458320"/>
        <a:ext cx="1756127" cy="1053676"/>
      </dsp:txXfrm>
    </dsp:sp>
    <dsp:sp modelId="{49A618B1-165D-46EC-871C-6615DD319EAA}">
      <dsp:nvSpPr>
        <dsp:cNvPr id="0" name=""/>
        <dsp:cNvSpPr/>
      </dsp:nvSpPr>
      <dsp:spPr>
        <a:xfrm>
          <a:off x="1104585" y="2510197"/>
          <a:ext cx="8640146" cy="373309"/>
        </a:xfrm>
        <a:custGeom>
          <a:avLst/>
          <a:gdLst/>
          <a:ahLst/>
          <a:cxnLst/>
          <a:rect l="0" t="0" r="0" b="0"/>
          <a:pathLst>
            <a:path>
              <a:moveTo>
                <a:pt x="8640146" y="0"/>
              </a:moveTo>
              <a:lnTo>
                <a:pt x="8640146" y="203754"/>
              </a:lnTo>
              <a:lnTo>
                <a:pt x="0" y="203754"/>
              </a:lnTo>
              <a:lnTo>
                <a:pt x="0" y="373309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208418" y="2694832"/>
        <a:ext cx="432479" cy="4039"/>
      </dsp:txXfrm>
    </dsp:sp>
    <dsp:sp modelId="{803CBBCA-4FCD-4F2A-809A-B0EFC05429B5}">
      <dsp:nvSpPr>
        <dsp:cNvPr id="0" name=""/>
        <dsp:cNvSpPr/>
      </dsp:nvSpPr>
      <dsp:spPr>
        <a:xfrm>
          <a:off x="8866667" y="1458320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The print function has a literal string:  ‘Number of tweets: ‘</a:t>
          </a:r>
          <a:endParaRPr lang="en-US" sz="1200" kern="1200"/>
        </a:p>
      </dsp:txBody>
      <dsp:txXfrm>
        <a:off x="8866667" y="1458320"/>
        <a:ext cx="1756127" cy="1053676"/>
      </dsp:txXfrm>
    </dsp:sp>
    <dsp:sp modelId="{6396FE1C-581C-4AA4-AED4-0A028254045A}">
      <dsp:nvSpPr>
        <dsp:cNvPr id="0" name=""/>
        <dsp:cNvSpPr/>
      </dsp:nvSpPr>
      <dsp:spPr>
        <a:xfrm>
          <a:off x="1980849" y="3397024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157406" y="3440725"/>
        <a:ext cx="20195" cy="4039"/>
      </dsp:txXfrm>
    </dsp:sp>
    <dsp:sp modelId="{263155F2-3BCF-4113-A80E-0F0FD7A405D2}">
      <dsp:nvSpPr>
        <dsp:cNvPr id="0" name=""/>
        <dsp:cNvSpPr/>
      </dsp:nvSpPr>
      <dsp:spPr>
        <a:xfrm>
          <a:off x="226521" y="2915906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This string is concatenated ( ‘+’) with the number returned by calling ‘len’ (length)</a:t>
          </a:r>
          <a:endParaRPr lang="en-US" sz="1200" kern="1200"/>
        </a:p>
      </dsp:txBody>
      <dsp:txXfrm>
        <a:off x="226521" y="2915906"/>
        <a:ext cx="1756127" cy="1053676"/>
      </dsp:txXfrm>
    </dsp:sp>
    <dsp:sp modelId="{9368E510-B04C-47C4-9555-E42C8ABBE242}">
      <dsp:nvSpPr>
        <dsp:cNvPr id="0" name=""/>
        <dsp:cNvSpPr/>
      </dsp:nvSpPr>
      <dsp:spPr>
        <a:xfrm>
          <a:off x="4140885" y="3397024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317442" y="3440725"/>
        <a:ext cx="20195" cy="4039"/>
      </dsp:txXfrm>
    </dsp:sp>
    <dsp:sp modelId="{6C8F4019-0539-4550-9284-3C2A0EA86F1D}">
      <dsp:nvSpPr>
        <dsp:cNvPr id="0" name=""/>
        <dsp:cNvSpPr/>
      </dsp:nvSpPr>
      <dsp:spPr>
        <a:xfrm>
          <a:off x="2386558" y="2915906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The number is cast (converted) to string-type (by calling ‘str’) else concatenation is not possible </a:t>
          </a:r>
          <a:endParaRPr lang="en-US" sz="1200" kern="1200"/>
        </a:p>
      </dsp:txBody>
      <dsp:txXfrm>
        <a:off x="2386558" y="2915906"/>
        <a:ext cx="1756127" cy="1053676"/>
      </dsp:txXfrm>
    </dsp:sp>
    <dsp:sp modelId="{7EDFC02C-E5B5-4B9D-9A70-E6565D2138AA}">
      <dsp:nvSpPr>
        <dsp:cNvPr id="0" name=""/>
        <dsp:cNvSpPr/>
      </dsp:nvSpPr>
      <dsp:spPr>
        <a:xfrm>
          <a:off x="6300922" y="3397024"/>
          <a:ext cx="3733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3309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477479" y="3440725"/>
        <a:ext cx="20195" cy="4039"/>
      </dsp:txXfrm>
    </dsp:sp>
    <dsp:sp modelId="{A6B49E86-C9DA-4B29-96BA-93498D1C5742}">
      <dsp:nvSpPr>
        <dsp:cNvPr id="0" name=""/>
        <dsp:cNvSpPr/>
      </dsp:nvSpPr>
      <dsp:spPr>
        <a:xfrm>
          <a:off x="4546594" y="2915906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Read it inside-out: </a:t>
          </a:r>
          <a:endParaRPr lang="en-US" sz="1200" kern="1200"/>
        </a:p>
      </dsp:txBody>
      <dsp:txXfrm>
        <a:off x="4546594" y="2915906"/>
        <a:ext cx="1756127" cy="1053676"/>
      </dsp:txXfrm>
    </dsp:sp>
    <dsp:sp modelId="{ECA13CA1-78D7-42F2-8E3C-2B2E495AAAF6}">
      <dsp:nvSpPr>
        <dsp:cNvPr id="0" name=""/>
        <dsp:cNvSpPr/>
      </dsp:nvSpPr>
      <dsp:spPr>
        <a:xfrm>
          <a:off x="6706631" y="2915906"/>
          <a:ext cx="1756127" cy="10536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6052" tIns="90326" rIns="86052" bIns="90326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/>
            <a:t>‘tweets’ is input for a len-function which is input for a str-function which is (partial) input for the print-function</a:t>
          </a:r>
          <a:endParaRPr lang="en-US" sz="1200" kern="1200"/>
        </a:p>
      </dsp:txBody>
      <dsp:txXfrm>
        <a:off x="6706631" y="2915906"/>
        <a:ext cx="1756127" cy="10536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9D2AE6-D050-424D-B7D1-F76303373A4D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988783-0BF0-4F77-A37E-73A6A1F75DF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78823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88783-0BF0-4F77-A37E-73A6A1F75DFA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47883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88783-0BF0-4F77-A37E-73A6A1F75DFA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06514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88783-0BF0-4F77-A37E-73A6A1F75DFA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674477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88783-0BF0-4F77-A37E-73A6A1F75DFA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0133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import json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with open('tweets.js', encoding='utf-8') as tweets_file:</a:t>
            </a:r>
          </a:p>
          <a:p>
            <a:r>
              <a:rPr lang="en-US">
                <a:cs typeface="Calibri"/>
              </a:rPr>
              <a:t>    tweets = json.load(tweets_file)</a:t>
            </a:r>
          </a:p>
          <a:p>
            <a:r>
              <a:rPr lang="en-US">
                <a:cs typeface="Calibri"/>
              </a:rPr>
              <a:t>print('Number of tweets: ' + str(len(tweets)))</a:t>
            </a:r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88783-0BF0-4F77-A37E-73A6A1F75DFA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386381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88783-0BF0-4F77-A37E-73A6A1F75DFA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03549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>
                <a:cs typeface="Calibri"/>
              </a:rPr>
              <a:t>import hashlib</a:t>
            </a:r>
          </a:p>
          <a:p>
            <a:endParaRPr lang="nl-NL">
              <a:cs typeface="Calibri"/>
            </a:endParaRPr>
          </a:p>
          <a:p>
            <a:r>
              <a:rPr lang="nl-NL">
                <a:cs typeface="Calibri"/>
              </a:rPr>
              <a:t>with open('tweets.js', 'rb') as f:</a:t>
            </a:r>
          </a:p>
          <a:p>
            <a:r>
              <a:rPr lang="nl-NL">
                <a:cs typeface="Calibri"/>
              </a:rPr>
              <a:t>	c = hashlib.md5(f.read())</a:t>
            </a:r>
          </a:p>
          <a:p>
            <a:r>
              <a:rPr lang="nl-NL">
                <a:cs typeface="Calibri"/>
              </a:rPr>
              <a:t>print(c.hexdigest())</a:t>
            </a:r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88783-0BF0-4F77-A37E-73A6A1F75DFA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25764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CC2ECD-C7DF-24EB-6E6B-5179073F49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1B5D0684-3707-55C3-CECD-282EE837F2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D298A13-33E6-EC75-220F-9557C0AC2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E9BA3D0-032B-CBE1-D3CE-9FB8C1AA0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7842EE1-0E56-771F-D941-5D870D31D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485789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AE9CE0-56DA-DDB5-63F2-206FF148B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D7755DE7-5A4D-600A-8372-44BFEAC6FF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1782160-8991-45E9-0762-1EC631198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FB18BFC-8003-A2E1-A613-BD05BE354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D501F87-9A84-1520-0A10-0ADDDE7F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19419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7A7E28C8-84A2-2DC5-259D-684A18D427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D7291C98-79B7-52B2-9C61-9DA13C27CD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D95B2E0-E8D1-2F75-6B00-8D28EAE82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48E02F8-5CFE-ABBC-6B4D-6AB577C35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76150B5-8A9F-67E7-77A1-2C1C1CBB0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3149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 3 - gouden pijl/witte achtergro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2B6C795-6365-4B26-B1FA-815CCABBC5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02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/>
              <a:t>Titel deel 1 </a:t>
            </a:r>
            <a:r>
              <a:rPr lang="nl-NL" err="1"/>
              <a:t>linkslijnend</a:t>
            </a:r>
            <a:endParaRPr lang="nl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Eventueel programmalogo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85C0B955-5382-8547-BD1C-D12CBBE6CB7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3"/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14508137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84DCB3B-8759-40BB-B3CC-78BF23195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81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Eventueel programmalogo</a:t>
            </a:r>
          </a:p>
        </p:txBody>
      </p:sp>
      <p:grpSp>
        <p:nvGrpSpPr>
          <p:cNvPr id="13" name="Groep 22">
            <a:extLst>
              <a:ext uri="{FF2B5EF4-FFF2-40B4-BE49-F238E27FC236}">
                <a16:creationId xmlns:a16="http://schemas.microsoft.com/office/drawing/2014/main" id="{B48664DB-68D1-46BC-A7F8-8EC59B6DF403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4" name="Content Placeholder 6">
              <a:extLst>
                <a:ext uri="{FF2B5EF4-FFF2-40B4-BE49-F238E27FC236}">
                  <a16:creationId xmlns:a16="http://schemas.microsoft.com/office/drawing/2014/main" id="{50FE1C18-8AEB-4CD0-8CAE-98A526418B09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5" name="Content Placeholder 4">
              <a:extLst>
                <a:ext uri="{FF2B5EF4-FFF2-40B4-BE49-F238E27FC236}">
                  <a16:creationId xmlns:a16="http://schemas.microsoft.com/office/drawing/2014/main" id="{5FD4C9CC-29E1-4B74-B024-A8152AEBC2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6" name="Afbeelding 18">
              <a:extLst>
                <a:ext uri="{FF2B5EF4-FFF2-40B4-BE49-F238E27FC236}">
                  <a16:creationId xmlns:a16="http://schemas.microsoft.com/office/drawing/2014/main" id="{4C6EF562-A7E1-4C08-A619-0111FAE45A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7" name="Rechte verbindingslijn 21">
              <a:extLst>
                <a:ext uri="{FF2B5EF4-FFF2-40B4-BE49-F238E27FC236}">
                  <a16:creationId xmlns:a16="http://schemas.microsoft.com/office/drawing/2014/main" id="{78B2E657-B75A-4256-A506-2F6EFE38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0">
            <a:extLst>
              <a:ext uri="{FF2B5EF4-FFF2-40B4-BE49-F238E27FC236}">
                <a16:creationId xmlns:a16="http://schemas.microsoft.com/office/drawing/2014/main" id="{9CCA168D-D345-4915-A096-1BE365AD32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301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FD2003-DA40-0B50-1DC5-12B99D674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87A4DFF-4634-9C56-BDEB-51AEB72CC7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1F12608-474F-8448-C2A4-196BEE04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7161C61-25DC-E837-DC90-690C1F441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96C4DFA-C905-38C1-0881-425670CBB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43138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2C4814-FF7A-CD5D-F19E-87818A778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BB14DE9-13A0-0472-9F48-3BADAE87A4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D5AD9E8-CDEF-7DA0-9E97-EAD3A9E040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860E598-7522-160D-4481-9350A29A3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1532716-CD42-67A0-1E81-8B2A69C0C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75548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A80A3B-A12F-66FB-568D-5685F3A87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6852E64-5058-7901-EB1D-799E06210E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0A04BFE-64A6-D07E-49DB-273D7C50CB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E45501E0-8C2F-8556-6DFD-F3C7305C14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6970662-A221-FFF5-4BD6-AFDF4AE4FD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C88D828-46B4-881D-E702-3C5CECE2B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941989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954C47-12CE-5473-3C2E-3FAD545E3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7CE6960-27D9-7489-B805-5D1C902D45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CDA9095-3AA6-F74E-FBB5-82AB305797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D1E2FBF9-3AE5-BA4F-330F-C975AF20FA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0E66A5CA-3980-27C5-4701-CF6554C12D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01212D82-8E26-DD42-DC99-81B30F16A9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8979A94C-F7CE-C305-413F-475B68CF9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7D3D0FE4-7CDD-AAC6-F7FB-85304EE89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42996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54302B-71BA-4EDB-7F09-7F5240572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D342124-30D9-96EE-DA32-71C7140B9B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8769BEB-5EDA-C9BF-3B8A-17B1D0BAE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263C3F9-A555-9CF7-D8C9-8CFE96338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724949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18826F06-4FE3-60CC-265A-0A367D9CE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7F3B0C7-7C19-AB1C-21D0-9A751B911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86D3DE4-D343-45E6-9E1A-1E18EA1BF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4893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2F100-9C17-F55B-881C-F4C6645FB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368DEC-E993-A92A-663C-6FD776E620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E8391DA-1E9B-0E52-2199-2F55690A47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F80A28D-735B-7F76-FB69-345DE28C2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F983B568-E65F-523B-A87C-C3784600F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12964D4-0B30-7076-F3D0-8B08FE789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7058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D9D3D9-2FEF-1EA2-377C-54A5293BF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24F0BE32-52FB-CB2B-3F6B-9BAEE4F2DA8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4BEBEF1-7494-6D2D-E199-1653862FEE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EC6A8D50-15BA-9D11-9E0D-4E7473A44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6D7CFDA-3FCF-1FB8-6A2D-2424D9E9F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C3EA76D3-7176-4F21-E2DE-B94AD34EA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72982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902C99DD-F93E-D871-9700-337094C6A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3709E45-89C1-9651-1BC7-3102AD4F23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B21E854-0C0C-8044-0611-76F160E93C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C301E1-CE9F-4F87-820B-CB8CDBD4A06A}" type="datetimeFigureOut">
              <a:rPr lang="nl-NL" smtClean="0"/>
              <a:t>20-4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6A73DA5-74ED-C2F3-28E6-680245C220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64EDE57-4F5F-629F-515B-6AE85DBB3C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396DC2-7026-4AF4-9CA6-1E48B8F6AD6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34386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1HXYb16Bbs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1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068CA680-A9AA-404B-A683-94E018AAAD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2" y="5407460"/>
            <a:ext cx="6953323" cy="114903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nl-NL">
                <a:latin typeface="Calibri"/>
                <a:cs typeface="Arial"/>
              </a:rPr>
              <a:t>Daniel Steinmeier – Digital </a:t>
            </a:r>
            <a:r>
              <a:rPr lang="nl-NL" err="1">
                <a:latin typeface="Calibri"/>
                <a:cs typeface="Arial"/>
              </a:rPr>
              <a:t>Preservation</a:t>
            </a:r>
            <a:r>
              <a:rPr lang="nl-NL">
                <a:latin typeface="Calibri"/>
                <a:cs typeface="Arial"/>
              </a:rPr>
              <a:t> </a:t>
            </a:r>
            <a:r>
              <a:rPr lang="nl-NL" err="1">
                <a:latin typeface="Calibri"/>
                <a:cs typeface="Arial"/>
              </a:rPr>
              <a:t>Officer</a:t>
            </a:r>
            <a:r>
              <a:rPr lang="nl-NL">
                <a:latin typeface="Calibri"/>
                <a:cs typeface="Arial"/>
              </a:rPr>
              <a:t> </a:t>
            </a:r>
            <a:endParaRPr lang="nl-NL"/>
          </a:p>
          <a:p>
            <a:endParaRPr lang="nl-NL" sz="1800">
              <a:cs typeface="Calibri"/>
            </a:endParaRPr>
          </a:p>
          <a:p>
            <a:endParaRPr lang="nl-NL">
              <a:latin typeface="Calibri"/>
              <a:cs typeface="Calibri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32BB9C-CAA8-4677-B6D6-21B8B4D84A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21329" y="766646"/>
            <a:ext cx="8270394" cy="1495794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l"/>
            <a:r>
              <a:rPr lang="nl-NL" sz="5400">
                <a:latin typeface="Calibri"/>
                <a:cs typeface="Calibri"/>
              </a:rPr>
              <a:t>Useful stuff in 4 lines of code</a:t>
            </a:r>
          </a:p>
        </p:txBody>
      </p:sp>
      <p:pic>
        <p:nvPicPr>
          <p:cNvPr id="6" name="Tijdelijke aanduiding voor afbeelding 7" descr="Afbeelding met lucht, buiten, gebouw, gras&#10;&#10;Automatisch gegenereerde beschrijving">
            <a:extLst>
              <a:ext uri="{FF2B5EF4-FFF2-40B4-BE49-F238E27FC236}">
                <a16:creationId xmlns:a16="http://schemas.microsoft.com/office/drawing/2014/main" id="{5D06093D-80FB-4B76-8028-A89A89D427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88" b="19988"/>
          <a:stretch>
            <a:fillRect/>
          </a:stretch>
        </p:blipFill>
        <p:spPr>
          <a:xfrm>
            <a:off x="4912899" y="2163949"/>
            <a:ext cx="6545693" cy="2619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1750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50911C75-B833-4ADA-9221-CBA294D2DC8A}"/>
              </a:ext>
            </a:extLst>
          </p:cNvPr>
          <p:cNvSpPr txBox="1"/>
          <p:nvPr/>
        </p:nvSpPr>
        <p:spPr>
          <a:xfrm>
            <a:off x="1825373" y="1777483"/>
            <a:ext cx="8268274" cy="440120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Explore how many tweets are in a personal twitter archive without manual count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Basic JSON pars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Basic python knowledge required: lists, with-statement, importing libraries, print, variable assignment, data type convers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Inspired by video “</a:t>
            </a:r>
            <a:r>
              <a:rPr lang="en-US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How to Search Your Twitter Archive with Python” by Ian Wootten</a:t>
            </a: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: </a:t>
            </a: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hlinkClick r:id="rId3"/>
              </a:rPr>
              <a:t>https://www.youtube.com/watch?v=1HXYb16BbsU</a:t>
            </a:r>
            <a:endParaRPr lang="nl-NL" sz="240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l-NL" sz="240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l-NL" sz="200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l-NL" sz="2000">
              <a:solidFill>
                <a:srgbClr val="595959"/>
              </a:solidFill>
              <a:latin typeface="Arial"/>
              <a:cs typeface="Arial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681C51B8-2AFF-47D0-8EFA-2AC1537F570B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931386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3200">
                <a:latin typeface="+mn-lt"/>
                <a:ea typeface="Tahoma"/>
                <a:cs typeface="Tahoma"/>
              </a:rPr>
              <a:t>Goal</a:t>
            </a:r>
            <a:endParaRPr lang="nl-NL" sz="3200" dirty="0">
              <a:latin typeface="+mn-lt"/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43082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50911C75-B833-4ADA-9221-CBA294D2DC8A}"/>
              </a:ext>
            </a:extLst>
          </p:cNvPr>
          <p:cNvSpPr txBox="1"/>
          <p:nvPr/>
        </p:nvSpPr>
        <p:spPr>
          <a:xfrm>
            <a:off x="1761577" y="1280863"/>
            <a:ext cx="8268274" cy="29238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Javascript object not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Used for storing content in twitter archiv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rPr>
              <a:t>Notation resembles data types in python like lists [] and dictionaries {}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l-NL" sz="240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lvl="1"/>
            <a:endParaRPr lang="nl-NL" sz="240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l-NL" sz="200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l-NL" sz="2000">
              <a:solidFill>
                <a:srgbClr val="595959"/>
              </a:solidFill>
              <a:latin typeface="Arial"/>
              <a:cs typeface="Arial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681C51B8-2AFF-47D0-8EFA-2AC1537F570B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931386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3200">
                <a:latin typeface="+mn-lt"/>
                <a:ea typeface="Tahoma"/>
                <a:cs typeface="Tahoma"/>
              </a:rPr>
              <a:t>JSON</a:t>
            </a:r>
            <a:endParaRPr lang="nl-NL" sz="3200" dirty="0">
              <a:latin typeface="+mn-lt"/>
              <a:ea typeface="Tahoma"/>
              <a:cs typeface="Tahoma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49C10E59-E583-2936-03C1-145C561B33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6779" y="3133390"/>
            <a:ext cx="4162425" cy="3114675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F61B3692-C274-1BCF-3882-3BFC2479E9BD}"/>
              </a:ext>
            </a:extLst>
          </p:cNvPr>
          <p:cNvSpPr txBox="1"/>
          <p:nvPr/>
        </p:nvSpPr>
        <p:spPr>
          <a:xfrm>
            <a:off x="2781540" y="3047016"/>
            <a:ext cx="1518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/>
              <a:t>Start of object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AE9B63D1-C952-B64D-DA62-9A0ED0BCD259}"/>
              </a:ext>
            </a:extLst>
          </p:cNvPr>
          <p:cNvSpPr txBox="1"/>
          <p:nvPr/>
        </p:nvSpPr>
        <p:spPr>
          <a:xfrm>
            <a:off x="2969915" y="3344727"/>
            <a:ext cx="17359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/>
              <a:t>First level: tweet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3ED83F44-37AE-CF53-1A42-BE8BA88C3545}"/>
              </a:ext>
            </a:extLst>
          </p:cNvPr>
          <p:cNvSpPr txBox="1"/>
          <p:nvPr/>
        </p:nvSpPr>
        <p:spPr>
          <a:xfrm rot="10800000" flipV="1">
            <a:off x="3166986" y="3604575"/>
            <a:ext cx="17000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/>
              <a:t>Second level: other data types including id</a:t>
            </a:r>
          </a:p>
        </p:txBody>
      </p:sp>
      <p:cxnSp>
        <p:nvCxnSpPr>
          <p:cNvPr id="11" name="Rechte verbindingslijn met pijl 10">
            <a:extLst>
              <a:ext uri="{FF2B5EF4-FFF2-40B4-BE49-F238E27FC236}">
                <a16:creationId xmlns:a16="http://schemas.microsoft.com/office/drawing/2014/main" id="{411D7DE6-EE35-C3C1-70A1-A1713BAEADE1}"/>
              </a:ext>
            </a:extLst>
          </p:cNvPr>
          <p:cNvCxnSpPr>
            <a:cxnSpLocks/>
          </p:cNvCxnSpPr>
          <p:nvPr/>
        </p:nvCxnSpPr>
        <p:spPr>
          <a:xfrm>
            <a:off x="4395183" y="3241795"/>
            <a:ext cx="3107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DA3D314E-D019-283C-AF28-1B60D3538948}"/>
              </a:ext>
            </a:extLst>
          </p:cNvPr>
          <p:cNvCxnSpPr>
            <a:cxnSpLocks/>
          </p:cNvCxnSpPr>
          <p:nvPr/>
        </p:nvCxnSpPr>
        <p:spPr>
          <a:xfrm>
            <a:off x="4705903" y="3491690"/>
            <a:ext cx="3107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CB23C10C-E78B-BDD9-9147-5031BB8A9506}"/>
              </a:ext>
            </a:extLst>
          </p:cNvPr>
          <p:cNvCxnSpPr>
            <a:cxnSpLocks/>
          </p:cNvCxnSpPr>
          <p:nvPr/>
        </p:nvCxnSpPr>
        <p:spPr>
          <a:xfrm>
            <a:off x="4866991" y="3792945"/>
            <a:ext cx="3107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41053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681C51B8-2AFF-47D0-8EFA-2AC1537F570B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931386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3200">
                <a:latin typeface="+mn-lt"/>
                <a:ea typeface="Tahoma"/>
                <a:cs typeface="Tahoma"/>
              </a:rPr>
              <a:t>First problem: textencoding</a:t>
            </a:r>
            <a:endParaRPr lang="nl-NL" sz="3200" dirty="0">
              <a:latin typeface="+mn-lt"/>
              <a:ea typeface="Tahoma"/>
              <a:cs typeface="Tahoma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400C52EE-CA64-8BD8-806D-4BCAD78F7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070" y="2343150"/>
            <a:ext cx="11001375" cy="217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1081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681C51B8-2AFF-47D0-8EFA-2AC1537F570B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931386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3200">
                <a:latin typeface="+mn-lt"/>
                <a:ea typeface="Tahoma"/>
                <a:cs typeface="Tahoma"/>
              </a:rPr>
              <a:t>Second problem: invalid JSON</a:t>
            </a:r>
            <a:endParaRPr lang="nl-NL" sz="3200" dirty="0">
              <a:latin typeface="+mn-lt"/>
              <a:ea typeface="Tahoma"/>
              <a:cs typeface="Tahoma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97FE7064-55AF-9766-58EF-625BB989E1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9808" y="1475799"/>
            <a:ext cx="6639460" cy="2260968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AE0A122E-FDBC-D7EB-6BB0-B2F364CE74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6455" y="3938826"/>
            <a:ext cx="6696075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2649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681C51B8-2AFF-47D0-8EFA-2AC1537F570B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931386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3200">
                <a:latin typeface="+mn-lt"/>
                <a:ea typeface="Tahoma"/>
                <a:cs typeface="Tahoma"/>
              </a:rPr>
              <a:t>Number of tweets in 4 lines of code</a:t>
            </a:r>
            <a:endParaRPr lang="nl-NL" sz="3200" dirty="0">
              <a:highlight>
                <a:srgbClr val="FFFF00"/>
              </a:highlight>
              <a:latin typeface="+mn-lt"/>
              <a:ea typeface="Tahoma"/>
              <a:cs typeface="Tahoma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B2C0FF44-CD70-7CDF-2B13-2916C862FC39}"/>
              </a:ext>
            </a:extLst>
          </p:cNvPr>
          <p:cNvSpPr txBox="1"/>
          <p:nvPr/>
        </p:nvSpPr>
        <p:spPr>
          <a:xfrm>
            <a:off x="7422258" y="2174964"/>
            <a:ext cx="492296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l-NL" sz="1400"/>
              <a:t>Import standard json-library</a:t>
            </a:r>
          </a:p>
          <a:p>
            <a:pPr marL="342900" indent="-342900">
              <a:buFont typeface="+mj-lt"/>
              <a:buAutoNum type="arabicPeriod"/>
            </a:pPr>
            <a:endParaRPr lang="nl-NL" sz="1400"/>
          </a:p>
          <a:p>
            <a:pPr marL="342900" indent="-342900">
              <a:buFont typeface="+mj-lt"/>
              <a:buAutoNum type="arabicPeriod"/>
            </a:pPr>
            <a:r>
              <a:rPr lang="nl-NL" sz="1400"/>
              <a:t>Open tweets JSON file, mind text encoding</a:t>
            </a:r>
          </a:p>
          <a:p>
            <a:pPr marL="342900" indent="-342900">
              <a:buFont typeface="+mj-lt"/>
              <a:buAutoNum type="arabicPeriod"/>
            </a:pPr>
            <a:r>
              <a:rPr lang="nl-NL" sz="1400"/>
              <a:t>Load JSON file (assign to variable ‘tweets’)</a:t>
            </a:r>
          </a:p>
          <a:p>
            <a:pPr marL="342900" indent="-342900">
              <a:buFont typeface="+mj-lt"/>
              <a:buAutoNum type="arabicPeriod"/>
            </a:pPr>
            <a:r>
              <a:rPr lang="nl-NL" sz="1400"/>
              <a:t>Print the length of the list (how many items are in the list)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868271B6-B1D9-0A7A-A585-8C1DFC81FD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6325" y="5475275"/>
            <a:ext cx="2781300" cy="685800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22D3F32B-8BB5-2ECF-B2E2-9D25D870C4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408" y="2199036"/>
            <a:ext cx="6800850" cy="131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039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681C51B8-2AFF-47D0-8EFA-2AC1537F570B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931386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3200">
                <a:latin typeface="+mn-lt"/>
                <a:ea typeface="Tahoma"/>
                <a:cs typeface="Tahoma"/>
              </a:rPr>
              <a:t>Abstractions explained</a:t>
            </a:r>
            <a:endParaRPr lang="nl-NL" sz="3200" dirty="0">
              <a:latin typeface="+mn-lt"/>
              <a:ea typeface="Tahoma"/>
              <a:cs typeface="Tahoma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F0BA736A-6349-8C3F-C401-534CAEAA8E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1150" y="842853"/>
            <a:ext cx="6800850" cy="1314450"/>
          </a:xfrm>
          <a:prstGeom prst="rect">
            <a:avLst/>
          </a:prstGeom>
        </p:spPr>
      </p:pic>
      <p:graphicFrame>
        <p:nvGraphicFramePr>
          <p:cNvPr id="9" name="Tekstvak 2">
            <a:extLst>
              <a:ext uri="{FF2B5EF4-FFF2-40B4-BE49-F238E27FC236}">
                <a16:creationId xmlns:a16="http://schemas.microsoft.com/office/drawing/2014/main" id="{C55B7165-C2E1-6262-049A-21F3C07BADB3}"/>
              </a:ext>
            </a:extLst>
          </p:cNvPr>
          <p:cNvGraphicFramePr/>
          <p:nvPr/>
        </p:nvGraphicFramePr>
        <p:xfrm>
          <a:off x="731587" y="2363600"/>
          <a:ext cx="10849317" cy="39703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55843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681C51B8-2AFF-47D0-8EFA-2AC1537F570B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931386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3200">
                <a:latin typeface="+mn-lt"/>
                <a:ea typeface="Tahoma"/>
                <a:cs typeface="Tahoma"/>
              </a:rPr>
              <a:t>Calculate a checksum in 4 lines of code</a:t>
            </a:r>
            <a:endParaRPr lang="nl-NL" sz="3200" dirty="0">
              <a:latin typeface="+mn-lt"/>
              <a:ea typeface="Tahoma"/>
              <a:cs typeface="Tahoma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B2C0FF44-CD70-7CDF-2B13-2916C862FC39}"/>
              </a:ext>
            </a:extLst>
          </p:cNvPr>
          <p:cNvSpPr txBox="1"/>
          <p:nvPr/>
        </p:nvSpPr>
        <p:spPr>
          <a:xfrm>
            <a:off x="7422258" y="2174964"/>
            <a:ext cx="492296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l-NL" sz="1400"/>
              <a:t>Import hashlib standard library</a:t>
            </a:r>
          </a:p>
          <a:p>
            <a:pPr marL="342900" indent="-342900">
              <a:buFont typeface="+mj-lt"/>
              <a:buAutoNum type="arabicPeriod"/>
            </a:pPr>
            <a:endParaRPr lang="nl-NL" sz="1400"/>
          </a:p>
          <a:p>
            <a:pPr marL="342900" indent="-342900">
              <a:buFont typeface="+mj-lt"/>
              <a:buAutoNum type="arabicPeriod"/>
            </a:pPr>
            <a:r>
              <a:rPr lang="nl-NL" sz="1400"/>
              <a:t>Open tweets JSON file, file handle is assigned to f</a:t>
            </a:r>
          </a:p>
          <a:p>
            <a:pPr marL="342900" indent="-342900">
              <a:buFont typeface="+mj-lt"/>
              <a:buAutoNum type="arabicPeriod"/>
            </a:pPr>
            <a:r>
              <a:rPr lang="nl-NL" sz="1400"/>
              <a:t>Read the contents of f and provide as input to hashlib.md5</a:t>
            </a:r>
          </a:p>
          <a:p>
            <a:pPr marL="342900" indent="-342900">
              <a:buFont typeface="+mj-lt"/>
              <a:buAutoNum type="arabicPeriod"/>
            </a:pPr>
            <a:r>
              <a:rPr lang="nl-NL" sz="1400"/>
              <a:t>Print the output of c.hexdigest-method</a:t>
            </a:r>
          </a:p>
          <a:p>
            <a:pPr marL="342900" indent="-342900">
              <a:buFont typeface="+mj-lt"/>
              <a:buAutoNum type="arabicPeriod"/>
            </a:pPr>
            <a:endParaRPr lang="nl-NL" sz="1400"/>
          </a:p>
          <a:p>
            <a:r>
              <a:rPr lang="nl-NL" sz="1400"/>
              <a:t>Warning! Not efficient for very large files because it loads the whole file in memory..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6CF7158F-0FA0-D5DA-F29F-BDCB36AADB83}"/>
              </a:ext>
            </a:extLst>
          </p:cNvPr>
          <p:cNvSpPr txBox="1"/>
          <p:nvPr/>
        </p:nvSpPr>
        <p:spPr>
          <a:xfrm>
            <a:off x="3020602" y="5445303"/>
            <a:ext cx="3930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/>
              <a:t>8268bd226c1be52e65953d388d917206</a:t>
            </a:r>
          </a:p>
          <a:p>
            <a:r>
              <a:rPr lang="nl-NL"/>
              <a:t>&gt;&gt;&gt; 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7E6DA46-BA53-EFB1-6997-85EA067DE3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4356" y="2274084"/>
            <a:ext cx="4143375" cy="128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970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654</TotalTime>
  <Words>538</Words>
  <Application>Microsoft Office PowerPoint</Application>
  <PresentationFormat>Breedbeeld</PresentationFormat>
  <Paragraphs>67</Paragraphs>
  <Slides>8</Slides>
  <Notes>7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Kantoorthema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Daniël Steinmeier</dc:creator>
  <cp:lastModifiedBy>Eijkel, Susanne van den</cp:lastModifiedBy>
  <cp:revision>1256</cp:revision>
  <dcterms:created xsi:type="dcterms:W3CDTF">2022-12-22T09:08:26Z</dcterms:created>
  <dcterms:modified xsi:type="dcterms:W3CDTF">2024-04-20T06:46:22Z</dcterms:modified>
</cp:coreProperties>
</file>